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73" r:id="rId3"/>
  </p:sldMasterIdLst>
  <p:notesMasterIdLst>
    <p:notesMasterId r:id="rId40"/>
  </p:notesMasterIdLst>
  <p:handoutMasterIdLst>
    <p:handoutMasterId r:id="rId41"/>
  </p:handoutMasterIdLst>
  <p:sldIdLst>
    <p:sldId id="309" r:id="rId4"/>
    <p:sldId id="310" r:id="rId5"/>
    <p:sldId id="311" r:id="rId6"/>
    <p:sldId id="259" r:id="rId7"/>
    <p:sldId id="258" r:id="rId8"/>
    <p:sldId id="275" r:id="rId9"/>
    <p:sldId id="262" r:id="rId10"/>
    <p:sldId id="263" r:id="rId11"/>
    <p:sldId id="287" r:id="rId12"/>
    <p:sldId id="290" r:id="rId13"/>
    <p:sldId id="286" r:id="rId14"/>
    <p:sldId id="281" r:id="rId15"/>
    <p:sldId id="292" r:id="rId16"/>
    <p:sldId id="265" r:id="rId17"/>
    <p:sldId id="294" r:id="rId18"/>
    <p:sldId id="295" r:id="rId19"/>
    <p:sldId id="296" r:id="rId20"/>
    <p:sldId id="297" r:id="rId21"/>
    <p:sldId id="298" r:id="rId22"/>
    <p:sldId id="293" r:id="rId23"/>
    <p:sldId id="267" r:id="rId24"/>
    <p:sldId id="299" r:id="rId25"/>
    <p:sldId id="288" r:id="rId26"/>
    <p:sldId id="282" r:id="rId27"/>
    <p:sldId id="300" r:id="rId28"/>
    <p:sldId id="301" r:id="rId29"/>
    <p:sldId id="302" r:id="rId30"/>
    <p:sldId id="303" r:id="rId31"/>
    <p:sldId id="304" r:id="rId32"/>
    <p:sldId id="305" r:id="rId33"/>
    <p:sldId id="306" r:id="rId34"/>
    <p:sldId id="307" r:id="rId35"/>
    <p:sldId id="308" r:id="rId36"/>
    <p:sldId id="284" r:id="rId37"/>
    <p:sldId id="283" r:id="rId38"/>
    <p:sldId id="271" r:id="rId39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26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458D"/>
    <a:srgbClr val="224A90"/>
    <a:srgbClr val="783B83"/>
    <a:srgbClr val="3F5999"/>
    <a:srgbClr val="D4D9EC"/>
    <a:srgbClr val="203764"/>
    <a:srgbClr val="2F75B5"/>
    <a:srgbClr val="10A4D2"/>
    <a:srgbClr val="C6C6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79419" autoAdjust="0"/>
  </p:normalViewPr>
  <p:slideViewPr>
    <p:cSldViewPr snapToGrid="0" showGuides="1">
      <p:cViewPr varScale="1">
        <p:scale>
          <a:sx n="114" d="100"/>
          <a:sy n="114" d="100"/>
        </p:scale>
        <p:origin x="474" y="108"/>
      </p:cViewPr>
      <p:guideLst>
        <p:guide orient="horz" pos="1026"/>
        <p:guide pos="381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8" d="100"/>
          <a:sy n="88" d="100"/>
        </p:scale>
        <p:origin x="3822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presProps" Target="pres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viewProps" Target="viewProp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20" Type="http://schemas.openxmlformats.org/officeDocument/2006/relationships/slide" Target="slides/slide17.xml"/><Relationship Id="rId41" Type="http://schemas.openxmlformats.org/officeDocument/2006/relationships/handoutMaster" Target="handoutMasters/handoutMaster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hyperlink" Target="http://technology.prosv.ru/webinars/" TargetMode="External"/><Relationship Id="rId2" Type="http://schemas.openxmlformats.org/officeDocument/2006/relationships/hyperlink" Target="https://lbz.ru/metodist/authors/technologia/3/" TargetMode="External"/><Relationship Id="rId1" Type="http://schemas.openxmlformats.org/officeDocument/2006/relationships/hyperlink" Target="https://resh.edu.ru/subject/8/5/" TargetMode="External"/><Relationship Id="rId6" Type="http://schemas.openxmlformats.org/officeDocument/2006/relationships/image" Target="../media/image89.PNG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hyperlink" Target="https://lbz.ru/metodist/authors/technologia/3/" TargetMode="External"/><Relationship Id="rId2" Type="http://schemas.openxmlformats.org/officeDocument/2006/relationships/image" Target="../media/image87.PNG"/><Relationship Id="rId1" Type="http://schemas.openxmlformats.org/officeDocument/2006/relationships/hyperlink" Target="https://resh.edu.ru/subject/8/5/" TargetMode="External"/><Relationship Id="rId6" Type="http://schemas.openxmlformats.org/officeDocument/2006/relationships/image" Target="../media/image89.PNG"/><Relationship Id="rId5" Type="http://schemas.openxmlformats.org/officeDocument/2006/relationships/hyperlink" Target="http://technology.prosv.ru/webinars/" TargetMode="External"/><Relationship Id="rId4" Type="http://schemas.openxmlformats.org/officeDocument/2006/relationships/image" Target="../media/image8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06D52F6-0A88-49F9-996F-003E333E4476}" type="doc">
      <dgm:prSet loTypeId="urn:microsoft.com/office/officeart/2008/layout/AlternatingPictureBlocks" loCatId="picture" qsTypeId="urn:microsoft.com/office/officeart/2005/8/quickstyle/simple3" qsCatId="simple" csTypeId="urn:microsoft.com/office/officeart/2005/8/colors/accent1_2" csCatId="accent1" phldr="1"/>
      <dgm:spPr/>
    </dgm:pt>
    <dgm:pt modelId="{62E398A4-3558-4EA4-BAFE-73212B9CC1C8}">
      <dgm:prSet custT="1"/>
      <dgm:spPr>
        <a:solidFill>
          <a:schemeClr val="accent5">
            <a:lumMod val="60000"/>
            <a:lumOff val="40000"/>
          </a:schemeClr>
        </a:solidFill>
      </dgm:spPr>
      <dgm:t>
        <a:bodyPr/>
        <a:lstStyle/>
        <a:p>
          <a:r>
            <a:rPr lang="ru-RU" altLang="ru-RU" sz="2000" b="1" dirty="0">
              <a:solidFill>
                <a:srgbClr val="28458D"/>
              </a:solidFill>
              <a:cs typeface="Open Sans Condensed" pitchFamily="2" charset="0"/>
            </a:rPr>
            <a:t>Российская электронная школа: </a:t>
          </a:r>
        </a:p>
        <a:p>
          <a:r>
            <a:rPr lang="en-US" altLang="ru-RU" sz="2000" b="1" dirty="0">
              <a:solidFill>
                <a:srgbClr val="28458D"/>
              </a:solidFill>
              <a:cs typeface="Open Sans Condensed" pitchFamily="2" charset="0"/>
              <a:hlinkClick xmlns:r="http://schemas.openxmlformats.org/officeDocument/2006/relationships" r:id="rId1"/>
            </a:rPr>
            <a:t>https://resh.edu.ru/subject/8/5/</a:t>
          </a:r>
          <a:r>
            <a:rPr lang="ru-RU" altLang="ru-RU" sz="2000" b="1" dirty="0">
              <a:solidFill>
                <a:srgbClr val="28458D"/>
              </a:solidFill>
              <a:cs typeface="Open Sans Condensed" pitchFamily="2" charset="0"/>
            </a:rPr>
            <a:t> </a:t>
          </a:r>
          <a:endParaRPr lang="ru-RU" sz="2000" dirty="0"/>
        </a:p>
      </dgm:t>
    </dgm:pt>
    <dgm:pt modelId="{3709704C-0C91-430D-AEAF-E494FAC3BDB3}" type="parTrans" cxnId="{C0EAF155-B4EE-4E34-8798-EA3D0AD7489C}">
      <dgm:prSet/>
      <dgm:spPr/>
      <dgm:t>
        <a:bodyPr/>
        <a:lstStyle/>
        <a:p>
          <a:endParaRPr lang="ru-RU"/>
        </a:p>
      </dgm:t>
    </dgm:pt>
    <dgm:pt modelId="{B2937A03-57A5-481A-A27E-CC8A2A3A8A73}" type="sibTrans" cxnId="{C0EAF155-B4EE-4E34-8798-EA3D0AD7489C}">
      <dgm:prSet/>
      <dgm:spPr/>
      <dgm:t>
        <a:bodyPr/>
        <a:lstStyle/>
        <a:p>
          <a:endParaRPr lang="ru-RU"/>
        </a:p>
      </dgm:t>
    </dgm:pt>
    <dgm:pt modelId="{337965EF-AC6A-4764-9F9A-B0153458A6F5}">
      <dgm:prSet phldrT="[Текст]" custT="1"/>
      <dgm:spPr>
        <a:solidFill>
          <a:schemeClr val="accent5">
            <a:lumMod val="60000"/>
            <a:lumOff val="40000"/>
          </a:schemeClr>
        </a:solidFill>
      </dgm:spPr>
      <dgm:t>
        <a:bodyPr/>
        <a:lstStyle/>
        <a:p>
          <a:r>
            <a:rPr lang="ru-RU" altLang="ru-RU" sz="2000" b="1" dirty="0">
              <a:solidFill>
                <a:srgbClr val="28458D"/>
              </a:solidFill>
              <a:cs typeface="Open Sans Condensed" pitchFamily="2" charset="0"/>
            </a:rPr>
            <a:t>Авторская мастерская </a:t>
          </a:r>
          <a:r>
            <a:rPr lang="ru-RU" altLang="ru-RU" sz="2000" b="1" dirty="0" err="1">
              <a:solidFill>
                <a:srgbClr val="28458D"/>
              </a:solidFill>
              <a:cs typeface="Open Sans Condensed" pitchFamily="2" charset="0"/>
            </a:rPr>
            <a:t>С.А.Бешенкова</a:t>
          </a:r>
          <a:r>
            <a:rPr lang="ru-RU" altLang="ru-RU" sz="2000" b="1" dirty="0">
              <a:solidFill>
                <a:srgbClr val="28458D"/>
              </a:solidFill>
              <a:cs typeface="Open Sans Condensed" pitchFamily="2" charset="0"/>
            </a:rPr>
            <a:t>: </a:t>
          </a:r>
        </a:p>
        <a:p>
          <a:r>
            <a:rPr lang="en-US" altLang="ru-RU" sz="2000" b="1" dirty="0">
              <a:solidFill>
                <a:srgbClr val="28458D"/>
              </a:solidFill>
              <a:cs typeface="Open Sans Condensed" pitchFamily="2" charset="0"/>
              <a:hlinkClick xmlns:r="http://schemas.openxmlformats.org/officeDocument/2006/relationships" r:id="rId2"/>
            </a:rPr>
            <a:t>https://lbz.ru/metodist/authors/technologia/3/</a:t>
          </a:r>
          <a:r>
            <a:rPr lang="ru-RU" altLang="ru-RU" sz="2000" b="1" dirty="0">
              <a:solidFill>
                <a:srgbClr val="28458D"/>
              </a:solidFill>
              <a:cs typeface="Open Sans Condensed" pitchFamily="2" charset="0"/>
            </a:rPr>
            <a:t> </a:t>
          </a:r>
          <a:endParaRPr lang="ru-RU" sz="2000" dirty="0"/>
        </a:p>
      </dgm:t>
    </dgm:pt>
    <dgm:pt modelId="{B29AE86A-D677-4052-A5AF-401D997712D7}" type="parTrans" cxnId="{4967E2D5-924D-4BDA-BDE4-2D7EFA42C791}">
      <dgm:prSet/>
      <dgm:spPr/>
      <dgm:t>
        <a:bodyPr/>
        <a:lstStyle/>
        <a:p>
          <a:endParaRPr lang="ru-RU"/>
        </a:p>
      </dgm:t>
    </dgm:pt>
    <dgm:pt modelId="{292F9311-6C68-43C3-BA1A-FC1B8AF08B98}" type="sibTrans" cxnId="{4967E2D5-924D-4BDA-BDE4-2D7EFA42C791}">
      <dgm:prSet/>
      <dgm:spPr/>
      <dgm:t>
        <a:bodyPr/>
        <a:lstStyle/>
        <a:p>
          <a:endParaRPr lang="ru-RU"/>
        </a:p>
      </dgm:t>
    </dgm:pt>
    <dgm:pt modelId="{E8DE7998-E8B6-4DE8-89EA-6464322C9DC3}">
      <dgm:prSet custT="1"/>
      <dgm:spPr>
        <a:solidFill>
          <a:schemeClr val="accent5">
            <a:lumMod val="60000"/>
            <a:lumOff val="40000"/>
          </a:schemeClr>
        </a:solidFill>
      </dgm:spPr>
      <dgm:t>
        <a:bodyPr/>
        <a:lstStyle/>
        <a:p>
          <a:r>
            <a:rPr lang="ru-RU" altLang="ru-RU" sz="2000" b="1" dirty="0">
              <a:solidFill>
                <a:srgbClr val="28458D"/>
              </a:solidFill>
              <a:cs typeface="Open Sans Condensed" pitchFamily="2" charset="0"/>
            </a:rPr>
            <a:t>Центр технологического образования. </a:t>
          </a:r>
          <a:r>
            <a:rPr lang="ru-RU" altLang="ru-RU" sz="2000" b="1" dirty="0" err="1">
              <a:solidFill>
                <a:srgbClr val="28458D"/>
              </a:solidFill>
              <a:cs typeface="Open Sans Condensed" pitchFamily="2" charset="0"/>
            </a:rPr>
            <a:t>Вебинары</a:t>
          </a:r>
          <a:r>
            <a:rPr lang="ru-RU" altLang="ru-RU" sz="2000" b="1" dirty="0">
              <a:solidFill>
                <a:srgbClr val="28458D"/>
              </a:solidFill>
              <a:cs typeface="Open Sans Condensed" pitchFamily="2" charset="0"/>
            </a:rPr>
            <a:t>: </a:t>
          </a:r>
        </a:p>
        <a:p>
          <a:r>
            <a:rPr lang="ru-RU" sz="2000" b="1" dirty="0">
              <a:hlinkClick xmlns:r="http://schemas.openxmlformats.org/officeDocument/2006/relationships" r:id="rId3"/>
            </a:rPr>
            <a:t>http://technology.prosv.ru/webinars/</a:t>
          </a:r>
          <a:r>
            <a:rPr lang="ru-RU" sz="2000" b="1" dirty="0"/>
            <a:t>  </a:t>
          </a:r>
          <a:endParaRPr lang="ru-RU" altLang="ru-RU" sz="2000" b="1" dirty="0">
            <a:cs typeface="Open Sans Condensed" pitchFamily="2" charset="0"/>
          </a:endParaRPr>
        </a:p>
      </dgm:t>
    </dgm:pt>
    <dgm:pt modelId="{3174C335-F4C8-4B8E-8541-5B3914961E21}" type="parTrans" cxnId="{D73F91F1-F4A4-455B-A007-52DB7F5EB33F}">
      <dgm:prSet/>
      <dgm:spPr/>
      <dgm:t>
        <a:bodyPr/>
        <a:lstStyle/>
        <a:p>
          <a:endParaRPr lang="ru-RU"/>
        </a:p>
      </dgm:t>
    </dgm:pt>
    <dgm:pt modelId="{5BDBCD6B-EA89-41C1-A80A-C9EC7173EEF8}" type="sibTrans" cxnId="{D73F91F1-F4A4-455B-A007-52DB7F5EB33F}">
      <dgm:prSet/>
      <dgm:spPr/>
      <dgm:t>
        <a:bodyPr/>
        <a:lstStyle/>
        <a:p>
          <a:endParaRPr lang="ru-RU"/>
        </a:p>
      </dgm:t>
    </dgm:pt>
    <dgm:pt modelId="{9CB1FA33-94E6-4445-B8A7-6E842C6B74A7}" type="pres">
      <dgm:prSet presAssocID="{A06D52F6-0A88-49F9-996F-003E333E4476}" presName="linearFlow" presStyleCnt="0">
        <dgm:presLayoutVars>
          <dgm:dir/>
          <dgm:resizeHandles val="exact"/>
        </dgm:presLayoutVars>
      </dgm:prSet>
      <dgm:spPr/>
    </dgm:pt>
    <dgm:pt modelId="{4EEA4289-B65D-49B9-9EDF-6E010D0CD559}" type="pres">
      <dgm:prSet presAssocID="{62E398A4-3558-4EA4-BAFE-73212B9CC1C8}" presName="comp" presStyleCnt="0"/>
      <dgm:spPr/>
    </dgm:pt>
    <dgm:pt modelId="{B25C55B8-3D0B-4BB3-A86B-9EACA4349FCE}" type="pres">
      <dgm:prSet presAssocID="{62E398A4-3558-4EA4-BAFE-73212B9CC1C8}" presName="rect2" presStyleLbl="node1" presStyleIdx="0" presStyleCnt="3" custScaleX="211115" custLinFactNeighborX="62475" custLinFactNeighborY="-4529">
        <dgm:presLayoutVars>
          <dgm:bulletEnabled val="1"/>
        </dgm:presLayoutVars>
      </dgm:prSet>
      <dgm:spPr/>
    </dgm:pt>
    <dgm:pt modelId="{A61FF643-E57D-459C-8299-3820AC11F72F}" type="pres">
      <dgm:prSet presAssocID="{62E398A4-3558-4EA4-BAFE-73212B9CC1C8}" presName="rect1" presStyleLbl="lnNode1" presStyleIdx="0" presStyleCnt="3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" r="-1000"/>
          </a:stretch>
        </a:blipFill>
      </dgm:spPr>
    </dgm:pt>
    <dgm:pt modelId="{DA185174-3554-4EA1-BBC9-59375386CDF0}" type="pres">
      <dgm:prSet presAssocID="{B2937A03-57A5-481A-A27E-CC8A2A3A8A73}" presName="sibTrans" presStyleCnt="0"/>
      <dgm:spPr/>
    </dgm:pt>
    <dgm:pt modelId="{47302495-C022-45C3-82B2-8F20D546B02D}" type="pres">
      <dgm:prSet presAssocID="{337965EF-AC6A-4764-9F9A-B0153458A6F5}" presName="comp" presStyleCnt="0"/>
      <dgm:spPr/>
    </dgm:pt>
    <dgm:pt modelId="{52CAA797-0DE9-422F-8A67-CE1597439529}" type="pres">
      <dgm:prSet presAssocID="{337965EF-AC6A-4764-9F9A-B0153458A6F5}" presName="rect2" presStyleLbl="node1" presStyleIdx="1" presStyleCnt="3" custScaleX="210207" custLinFactNeighborX="6145" custLinFactNeighborY="-5661">
        <dgm:presLayoutVars>
          <dgm:bulletEnabled val="1"/>
        </dgm:presLayoutVars>
      </dgm:prSet>
      <dgm:spPr/>
    </dgm:pt>
    <dgm:pt modelId="{B48B7685-931A-4689-96C7-08A58E3ABEA4}" type="pres">
      <dgm:prSet presAssocID="{337965EF-AC6A-4764-9F9A-B0153458A6F5}" presName="rect1" presStyleLbl="lnNode1" presStyleIdx="1" presStyleCnt="3" custLinFactX="52106" custLinFactNeighborX="100000" custLinFactNeighborY="-679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" r="-1000"/>
          </a:stretch>
        </a:blipFill>
      </dgm:spPr>
    </dgm:pt>
    <dgm:pt modelId="{65F9B42C-D2B7-4A03-9605-AAAE663D2648}" type="pres">
      <dgm:prSet presAssocID="{292F9311-6C68-43C3-BA1A-FC1B8AF08B98}" presName="sibTrans" presStyleCnt="0"/>
      <dgm:spPr/>
    </dgm:pt>
    <dgm:pt modelId="{7C000B49-8795-46F0-BDE5-1FF130728E4A}" type="pres">
      <dgm:prSet presAssocID="{E8DE7998-E8B6-4DE8-89EA-6464322C9DC3}" presName="comp" presStyleCnt="0"/>
      <dgm:spPr/>
    </dgm:pt>
    <dgm:pt modelId="{73038E5E-A49B-4124-9739-07F48C84DB56}" type="pres">
      <dgm:prSet presAssocID="{E8DE7998-E8B6-4DE8-89EA-6464322C9DC3}" presName="rect2" presStyleLbl="node1" presStyleIdx="2" presStyleCnt="3" custScaleX="214188" custLinFactNeighborX="57308">
        <dgm:presLayoutVars>
          <dgm:bulletEnabled val="1"/>
        </dgm:presLayoutVars>
      </dgm:prSet>
      <dgm:spPr/>
    </dgm:pt>
    <dgm:pt modelId="{66A29E5D-AC56-483A-BB2C-21F90FB63E3E}" type="pres">
      <dgm:prSet presAssocID="{E8DE7998-E8B6-4DE8-89EA-6464322C9DC3}" presName="rect1" presStyleLbl="lnNode1" presStyleIdx="2" presStyleCnt="3" custLinFactNeighborX="-1143" custLinFactNeighborY="1132"/>
      <dgm:spPr>
        <a:blipFill>
          <a:blip xmlns:r="http://schemas.openxmlformats.org/officeDocument/2006/relationships"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" r="-1000"/>
          </a:stretch>
        </a:blipFill>
      </dgm:spPr>
    </dgm:pt>
  </dgm:ptLst>
  <dgm:cxnLst>
    <dgm:cxn modelId="{C0EAF155-B4EE-4E34-8798-EA3D0AD7489C}" srcId="{A06D52F6-0A88-49F9-996F-003E333E4476}" destId="{62E398A4-3558-4EA4-BAFE-73212B9CC1C8}" srcOrd="0" destOrd="0" parTransId="{3709704C-0C91-430D-AEAF-E494FAC3BDB3}" sibTransId="{B2937A03-57A5-481A-A27E-CC8A2A3A8A73}"/>
    <dgm:cxn modelId="{3B504C93-120A-49B6-8AF4-704FADF88282}" type="presOf" srcId="{E8DE7998-E8B6-4DE8-89EA-6464322C9DC3}" destId="{73038E5E-A49B-4124-9739-07F48C84DB56}" srcOrd="0" destOrd="0" presId="urn:microsoft.com/office/officeart/2008/layout/AlternatingPictureBlocks"/>
    <dgm:cxn modelId="{3BADC6A3-E16D-4C68-91D2-11AF4DB8AC3C}" type="presOf" srcId="{62E398A4-3558-4EA4-BAFE-73212B9CC1C8}" destId="{B25C55B8-3D0B-4BB3-A86B-9EACA4349FCE}" srcOrd="0" destOrd="0" presId="urn:microsoft.com/office/officeart/2008/layout/AlternatingPictureBlocks"/>
    <dgm:cxn modelId="{BC1F6BAA-6598-46A0-8CED-23EBEC4DB98F}" type="presOf" srcId="{A06D52F6-0A88-49F9-996F-003E333E4476}" destId="{9CB1FA33-94E6-4445-B8A7-6E842C6B74A7}" srcOrd="0" destOrd="0" presId="urn:microsoft.com/office/officeart/2008/layout/AlternatingPictureBlocks"/>
    <dgm:cxn modelId="{1A8C0EB3-6A34-43B0-A0BD-2B6B47BE7D3C}" type="presOf" srcId="{337965EF-AC6A-4764-9F9A-B0153458A6F5}" destId="{52CAA797-0DE9-422F-8A67-CE1597439529}" srcOrd="0" destOrd="0" presId="urn:microsoft.com/office/officeart/2008/layout/AlternatingPictureBlocks"/>
    <dgm:cxn modelId="{4967E2D5-924D-4BDA-BDE4-2D7EFA42C791}" srcId="{A06D52F6-0A88-49F9-996F-003E333E4476}" destId="{337965EF-AC6A-4764-9F9A-B0153458A6F5}" srcOrd="1" destOrd="0" parTransId="{B29AE86A-D677-4052-A5AF-401D997712D7}" sibTransId="{292F9311-6C68-43C3-BA1A-FC1B8AF08B98}"/>
    <dgm:cxn modelId="{D73F91F1-F4A4-455B-A007-52DB7F5EB33F}" srcId="{A06D52F6-0A88-49F9-996F-003E333E4476}" destId="{E8DE7998-E8B6-4DE8-89EA-6464322C9DC3}" srcOrd="2" destOrd="0" parTransId="{3174C335-F4C8-4B8E-8541-5B3914961E21}" sibTransId="{5BDBCD6B-EA89-41C1-A80A-C9EC7173EEF8}"/>
    <dgm:cxn modelId="{19A51F9B-FD3B-4A4F-BBE1-761E39FE9516}" type="presParOf" srcId="{9CB1FA33-94E6-4445-B8A7-6E842C6B74A7}" destId="{4EEA4289-B65D-49B9-9EDF-6E010D0CD559}" srcOrd="0" destOrd="0" presId="urn:microsoft.com/office/officeart/2008/layout/AlternatingPictureBlocks"/>
    <dgm:cxn modelId="{4CC094DD-1D15-444C-B9EC-4BA314DFB76E}" type="presParOf" srcId="{4EEA4289-B65D-49B9-9EDF-6E010D0CD559}" destId="{B25C55B8-3D0B-4BB3-A86B-9EACA4349FCE}" srcOrd="0" destOrd="0" presId="urn:microsoft.com/office/officeart/2008/layout/AlternatingPictureBlocks"/>
    <dgm:cxn modelId="{C8B02F51-94F2-4407-A119-05AD6BE3EB7A}" type="presParOf" srcId="{4EEA4289-B65D-49B9-9EDF-6E010D0CD559}" destId="{A61FF643-E57D-459C-8299-3820AC11F72F}" srcOrd="1" destOrd="0" presId="urn:microsoft.com/office/officeart/2008/layout/AlternatingPictureBlocks"/>
    <dgm:cxn modelId="{1F8FD98A-26F4-4A2A-9833-8BABB6B8CDDC}" type="presParOf" srcId="{9CB1FA33-94E6-4445-B8A7-6E842C6B74A7}" destId="{DA185174-3554-4EA1-BBC9-59375386CDF0}" srcOrd="1" destOrd="0" presId="urn:microsoft.com/office/officeart/2008/layout/AlternatingPictureBlocks"/>
    <dgm:cxn modelId="{9D709456-0EB4-4F4F-AB32-D95A6043FC02}" type="presParOf" srcId="{9CB1FA33-94E6-4445-B8A7-6E842C6B74A7}" destId="{47302495-C022-45C3-82B2-8F20D546B02D}" srcOrd="2" destOrd="0" presId="urn:microsoft.com/office/officeart/2008/layout/AlternatingPictureBlocks"/>
    <dgm:cxn modelId="{1DBD344E-79C9-435A-87F1-5E254EBF1A1D}" type="presParOf" srcId="{47302495-C022-45C3-82B2-8F20D546B02D}" destId="{52CAA797-0DE9-422F-8A67-CE1597439529}" srcOrd="0" destOrd="0" presId="urn:microsoft.com/office/officeart/2008/layout/AlternatingPictureBlocks"/>
    <dgm:cxn modelId="{0BC665A0-C103-4941-83C0-3DB5618A099C}" type="presParOf" srcId="{47302495-C022-45C3-82B2-8F20D546B02D}" destId="{B48B7685-931A-4689-96C7-08A58E3ABEA4}" srcOrd="1" destOrd="0" presId="urn:microsoft.com/office/officeart/2008/layout/AlternatingPictureBlocks"/>
    <dgm:cxn modelId="{0474E426-6240-4554-95B2-41770686F239}" type="presParOf" srcId="{9CB1FA33-94E6-4445-B8A7-6E842C6B74A7}" destId="{65F9B42C-D2B7-4A03-9605-AAAE663D2648}" srcOrd="3" destOrd="0" presId="urn:microsoft.com/office/officeart/2008/layout/AlternatingPictureBlocks"/>
    <dgm:cxn modelId="{64D9DE73-B312-4FA0-A99A-60EAB96C32B9}" type="presParOf" srcId="{9CB1FA33-94E6-4445-B8A7-6E842C6B74A7}" destId="{7C000B49-8795-46F0-BDE5-1FF130728E4A}" srcOrd="4" destOrd="0" presId="urn:microsoft.com/office/officeart/2008/layout/AlternatingPictureBlocks"/>
    <dgm:cxn modelId="{9367B9BA-C08A-46B7-8213-0E401EA5B8C7}" type="presParOf" srcId="{7C000B49-8795-46F0-BDE5-1FF130728E4A}" destId="{73038E5E-A49B-4124-9739-07F48C84DB56}" srcOrd="0" destOrd="0" presId="urn:microsoft.com/office/officeart/2008/layout/AlternatingPictureBlocks"/>
    <dgm:cxn modelId="{9A827090-1DDA-43C1-8DFF-0CBBBCA98023}" type="presParOf" srcId="{7C000B49-8795-46F0-BDE5-1FF130728E4A}" destId="{66A29E5D-AC56-483A-BB2C-21F90FB63E3E}" srcOrd="1" destOrd="0" presId="urn:microsoft.com/office/officeart/2008/layout/AlternatingPictureBlock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5C55B8-3D0B-4BB3-A86B-9EACA4349FCE}">
      <dsp:nvSpPr>
        <dsp:cNvPr id="0" name=""/>
        <dsp:cNvSpPr/>
      </dsp:nvSpPr>
      <dsp:spPr>
        <a:xfrm>
          <a:off x="3142304" y="0"/>
          <a:ext cx="7590900" cy="1626243"/>
        </a:xfrm>
        <a:prstGeom prst="rect">
          <a:avLst/>
        </a:prstGeom>
        <a:solidFill>
          <a:schemeClr val="accent5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altLang="ru-RU" sz="2000" b="1" kern="1200" dirty="0">
              <a:solidFill>
                <a:srgbClr val="28458D"/>
              </a:solidFill>
              <a:cs typeface="Open Sans Condensed" pitchFamily="2" charset="0"/>
            </a:rPr>
            <a:t>Российская электронная школа: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ru-RU" sz="2000" b="1" kern="1200" dirty="0">
              <a:solidFill>
                <a:srgbClr val="28458D"/>
              </a:solidFill>
              <a:cs typeface="Open Sans Condensed" pitchFamily="2" charset="0"/>
              <a:hlinkClick xmlns:r="http://schemas.openxmlformats.org/officeDocument/2006/relationships" r:id="rId1"/>
            </a:rPr>
            <a:t>https://resh.edu.ru/subject/8/5/</a:t>
          </a:r>
          <a:r>
            <a:rPr lang="ru-RU" altLang="ru-RU" sz="2000" b="1" kern="1200" dirty="0">
              <a:solidFill>
                <a:srgbClr val="28458D"/>
              </a:solidFill>
              <a:cs typeface="Open Sans Condensed" pitchFamily="2" charset="0"/>
            </a:rPr>
            <a:t> </a:t>
          </a:r>
          <a:endParaRPr lang="ru-RU" sz="2000" kern="1200" dirty="0"/>
        </a:p>
      </dsp:txBody>
      <dsp:txXfrm>
        <a:off x="3142304" y="0"/>
        <a:ext cx="7590900" cy="1626243"/>
      </dsp:txXfrm>
    </dsp:sp>
    <dsp:sp modelId="{A61FF643-E57D-459C-8299-3820AC11F72F}">
      <dsp:nvSpPr>
        <dsp:cNvPr id="0" name=""/>
        <dsp:cNvSpPr/>
      </dsp:nvSpPr>
      <dsp:spPr>
        <a:xfrm>
          <a:off x="1797811" y="1638"/>
          <a:ext cx="1609980" cy="1626243"/>
        </a:xfrm>
        <a:prstGeom prst="rect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" r="-1000"/>
          </a:stretch>
        </a:blip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>
          <a:schemeClr val="dk1"/>
        </a:fontRef>
      </dsp:style>
    </dsp:sp>
    <dsp:sp modelId="{52CAA797-0DE9-422F-8A67-CE1597439529}">
      <dsp:nvSpPr>
        <dsp:cNvPr id="0" name=""/>
        <dsp:cNvSpPr/>
      </dsp:nvSpPr>
      <dsp:spPr>
        <a:xfrm>
          <a:off x="1808427" y="1804150"/>
          <a:ext cx="7558252" cy="1626243"/>
        </a:xfrm>
        <a:prstGeom prst="rect">
          <a:avLst/>
        </a:prstGeom>
        <a:solidFill>
          <a:schemeClr val="accent5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altLang="ru-RU" sz="2000" b="1" kern="1200" dirty="0">
              <a:solidFill>
                <a:srgbClr val="28458D"/>
              </a:solidFill>
              <a:cs typeface="Open Sans Condensed" pitchFamily="2" charset="0"/>
            </a:rPr>
            <a:t>Авторская мастерская </a:t>
          </a:r>
          <a:r>
            <a:rPr lang="ru-RU" altLang="ru-RU" sz="2000" b="1" kern="1200" dirty="0" err="1">
              <a:solidFill>
                <a:srgbClr val="28458D"/>
              </a:solidFill>
              <a:cs typeface="Open Sans Condensed" pitchFamily="2" charset="0"/>
            </a:rPr>
            <a:t>С.А.Бешенкова</a:t>
          </a:r>
          <a:r>
            <a:rPr lang="ru-RU" altLang="ru-RU" sz="2000" b="1" kern="1200" dirty="0">
              <a:solidFill>
                <a:srgbClr val="28458D"/>
              </a:solidFill>
              <a:cs typeface="Open Sans Condensed" pitchFamily="2" charset="0"/>
            </a:rPr>
            <a:t>: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ru-RU" sz="2000" b="1" kern="1200" dirty="0">
              <a:solidFill>
                <a:srgbClr val="28458D"/>
              </a:solidFill>
              <a:cs typeface="Open Sans Condensed" pitchFamily="2" charset="0"/>
              <a:hlinkClick xmlns:r="http://schemas.openxmlformats.org/officeDocument/2006/relationships" r:id="rId3"/>
            </a:rPr>
            <a:t>https://lbz.ru/metodist/authors/technologia/3/</a:t>
          </a:r>
          <a:r>
            <a:rPr lang="ru-RU" altLang="ru-RU" sz="2000" b="1" kern="1200" dirty="0">
              <a:solidFill>
                <a:srgbClr val="28458D"/>
              </a:solidFill>
              <a:cs typeface="Open Sans Condensed" pitchFamily="2" charset="0"/>
            </a:rPr>
            <a:t> </a:t>
          </a:r>
          <a:endParaRPr lang="ru-RU" sz="2000" kern="1200" dirty="0"/>
        </a:p>
      </dsp:txBody>
      <dsp:txXfrm>
        <a:off x="1808427" y="1804150"/>
        <a:ext cx="7558252" cy="1626243"/>
      </dsp:txXfrm>
    </dsp:sp>
    <dsp:sp modelId="{B48B7685-931A-4689-96C7-08A58E3ABEA4}">
      <dsp:nvSpPr>
        <dsp:cNvPr id="0" name=""/>
        <dsp:cNvSpPr/>
      </dsp:nvSpPr>
      <dsp:spPr>
        <a:xfrm>
          <a:off x="9123224" y="1785741"/>
          <a:ext cx="1609980" cy="1626243"/>
        </a:xfrm>
        <a:prstGeom prst="rect">
          <a:avLst/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" r="-1000"/>
          </a:stretch>
        </a:blip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>
          <a:schemeClr val="dk1"/>
        </a:fontRef>
      </dsp:style>
    </dsp:sp>
    <dsp:sp modelId="{73038E5E-A49B-4124-9739-07F48C84DB56}">
      <dsp:nvSpPr>
        <dsp:cNvPr id="0" name=""/>
        <dsp:cNvSpPr/>
      </dsp:nvSpPr>
      <dsp:spPr>
        <a:xfrm>
          <a:off x="3031810" y="3790785"/>
          <a:ext cx="7701394" cy="1626243"/>
        </a:xfrm>
        <a:prstGeom prst="rect">
          <a:avLst/>
        </a:prstGeom>
        <a:solidFill>
          <a:schemeClr val="accent5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altLang="ru-RU" sz="2000" b="1" kern="1200" dirty="0">
              <a:solidFill>
                <a:srgbClr val="28458D"/>
              </a:solidFill>
              <a:cs typeface="Open Sans Condensed" pitchFamily="2" charset="0"/>
            </a:rPr>
            <a:t>Центр технологического образования. </a:t>
          </a:r>
          <a:r>
            <a:rPr lang="ru-RU" altLang="ru-RU" sz="2000" b="1" kern="1200" dirty="0" err="1">
              <a:solidFill>
                <a:srgbClr val="28458D"/>
              </a:solidFill>
              <a:cs typeface="Open Sans Condensed" pitchFamily="2" charset="0"/>
            </a:rPr>
            <a:t>Вебинары</a:t>
          </a:r>
          <a:r>
            <a:rPr lang="ru-RU" altLang="ru-RU" sz="2000" b="1" kern="1200" dirty="0">
              <a:solidFill>
                <a:srgbClr val="28458D"/>
              </a:solidFill>
              <a:cs typeface="Open Sans Condensed" pitchFamily="2" charset="0"/>
            </a:rPr>
            <a:t>: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>
              <a:hlinkClick xmlns:r="http://schemas.openxmlformats.org/officeDocument/2006/relationships" r:id="rId5"/>
            </a:rPr>
            <a:t>http://technology.prosv.ru/webinars/</a:t>
          </a:r>
          <a:r>
            <a:rPr lang="ru-RU" sz="2000" b="1" kern="1200" dirty="0"/>
            <a:t>  </a:t>
          </a:r>
          <a:endParaRPr lang="ru-RU" altLang="ru-RU" sz="2000" b="1" kern="1200" dirty="0">
            <a:cs typeface="Open Sans Condensed" pitchFamily="2" charset="0"/>
          </a:endParaRPr>
        </a:p>
      </dsp:txBody>
      <dsp:txXfrm>
        <a:off x="3031810" y="3790785"/>
        <a:ext cx="7701394" cy="1626243"/>
      </dsp:txXfrm>
    </dsp:sp>
    <dsp:sp modelId="{66A29E5D-AC56-483A-BB2C-21F90FB63E3E}">
      <dsp:nvSpPr>
        <dsp:cNvPr id="0" name=""/>
        <dsp:cNvSpPr/>
      </dsp:nvSpPr>
      <dsp:spPr>
        <a:xfrm>
          <a:off x="1779409" y="3792423"/>
          <a:ext cx="1609980" cy="1626243"/>
        </a:xfrm>
        <a:prstGeom prst="rect">
          <a:avLst/>
        </a:prstGeom>
        <a:blipFill>
          <a:blip xmlns:r="http://schemas.openxmlformats.org/officeDocument/2006/relationships"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" r="-1000"/>
          </a:stretch>
        </a:blip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>
          <a:schemeClr val="dk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AlternatingPictureBlocks">
  <dgm:title val=""/>
  <dgm:desc val=""/>
  <dgm:catLst>
    <dgm:cat type="picture" pri="15000"/>
    <dgm:cat type="pictureconvert" pri="15000"/>
    <dgm:cat type="list" pri="135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ch" forName="comp" refType="w"/>
      <dgm:constr type="h" for="ch" forName="comp" refType="h"/>
      <dgm:constr type="h" for="ch" forName="sibTrans" refType="w" refFor="ch" refForName="comp" op="equ" fact="0.05"/>
    </dgm:constrLst>
    <dgm:ruleLst/>
    <dgm:forEach name="Name0" axis="ch" ptType="node">
      <dgm:layoutNode name="comp" styleLbl="node1">
        <dgm:alg type="composite">
          <dgm:param type="ar" val="3.30"/>
        </dgm:alg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hoose name="Name4">
              <dgm:if name="Name5" axis="desOrSelf" ptType="node" func="posOdd" op="equ" val="1">
                <dgm:constrLst>
                  <dgm:constr type="l" for="ch" forName="rect1" refType="w" fact="0"/>
                  <dgm:constr type="t" for="ch" forName="rect1" refType="h" fact="0"/>
                  <dgm:constr type="w" for="ch" forName="rect1" refType="w" fact="0.3"/>
                  <dgm:constr type="h" for="ch" forName="rect1" refType="h"/>
                  <dgm:constr type="l" for="ch" forName="rect2" refType="w" fact="0.33"/>
                  <dgm:constr type="t" for="ch" forName="rect2" refType="h" fact="0"/>
                  <dgm:constr type="w" for="ch" forName="rect2" refType="w" fact="0.67"/>
                  <dgm:constr type="h" for="ch" forName="rect2" refType="h"/>
                </dgm:constrLst>
              </dgm:if>
              <dgm:else name="Name6">
                <dgm:constrLst>
                  <dgm:constr type="l" for="ch" forName="rect1" refType="w" fact="0.7"/>
                  <dgm:constr type="t" for="ch" forName="rect1" refType="h" fact="0"/>
                  <dgm:constr type="w" for="ch" forName="rect1" refType="w" fact="0.3"/>
                  <dgm:constr type="h" for="ch" forName="rect1" refType="h"/>
                  <dgm:constr type="l" for="ch" forName="rect2" refType="w" fact="0"/>
                  <dgm:constr type="t" for="ch" forName="rect2" refType="h" fact="0"/>
                  <dgm:constr type="w" for="ch" forName="rect2" refType="w" fact="0.67"/>
                  <dgm:constr type="h" for="ch" forName="rect2" refType="h"/>
                </dgm:constrLst>
              </dgm:else>
            </dgm:choose>
          </dgm:if>
          <dgm:else name="Name3">
            <dgm:choose name="Name7">
              <dgm:if name="Name8" axis="desOrSelf" ptType="node" func="posOdd" op="equ" val="1">
                <dgm:constrLst>
                  <dgm:constr type="l" for="ch" forName="rect1" refType="w" fact="0.7"/>
                  <dgm:constr type="t" for="ch" forName="rect1" refType="h" fact="0"/>
                  <dgm:constr type="w" for="ch" forName="rect1" refType="w" fact="0.3"/>
                  <dgm:constr type="h" for="ch" forName="rect1" refType="h"/>
                  <dgm:constr type="l" for="ch" forName="rect2" refType="w" fact="0"/>
                  <dgm:constr type="t" for="ch" forName="rect2" refType="h" fact="0"/>
                  <dgm:constr type="w" for="ch" forName="rect2" refType="w" fact="0.67"/>
                  <dgm:constr type="h" for="ch" forName="rect2" refType="h"/>
                </dgm:constrLst>
              </dgm:if>
              <dgm:else name="Name9">
                <dgm:constrLst>
                  <dgm:constr type="l" for="ch" forName="rect1" refType="w" fact="0"/>
                  <dgm:constr type="t" for="ch" forName="rect1" refType="h" fact="0"/>
                  <dgm:constr type="w" for="ch" forName="rect1" refType="w" fact="0.3"/>
                  <dgm:constr type="h" for="ch" forName="rect1" refType="h"/>
                  <dgm:constr type="l" for="ch" forName="rect2" refType="w" fact="0.33"/>
                  <dgm:constr type="t" for="ch" forName="rect2" refType="h" fact="0"/>
                  <dgm:constr type="w" for="ch" forName="rect2" refType="w" fact="0.67"/>
                  <dgm:constr type="h" for="ch" forName="rect2" refType="h"/>
                </dgm:constrLst>
              </dgm:else>
            </dgm:choose>
          </dgm:else>
        </dgm:choose>
        <dgm:ruleLst/>
        <dgm:layoutNode name="rect2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rect1" styleLbl="lnNod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9A4839-ADAA-4CDC-8FF2-396085D120AB}" type="datetimeFigureOut">
              <a:rPr lang="ru-RU" smtClean="0"/>
              <a:t>24.04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C04ABA-FAF1-4CC9-803A-836DE011F1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84387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F77D86-C6C2-4E76-B631-18A1B56B0CE3}" type="datetimeFigureOut">
              <a:rPr lang="ru-RU" smtClean="0"/>
              <a:t>24.04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AA4D9B-1E3F-4EA3-B564-EFC311034E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58395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9" name="Образ слайда 1">
            <a:extLst>
              <a:ext uri="{FF2B5EF4-FFF2-40B4-BE49-F238E27FC236}">
                <a16:creationId xmlns:a16="http://schemas.microsoft.com/office/drawing/2014/main" id="{911285E5-B0E2-5309-D7A2-D26287B1FE0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0" name="Заметки 2">
            <a:extLst>
              <a:ext uri="{FF2B5EF4-FFF2-40B4-BE49-F238E27FC236}">
                <a16:creationId xmlns:a16="http://schemas.microsoft.com/office/drawing/2014/main" id="{D01B4F8B-A4CC-8451-B1E8-5B2FFC2D53C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z="1400"/>
          </a:p>
        </p:txBody>
      </p:sp>
      <p:sp>
        <p:nvSpPr>
          <p:cNvPr id="12291" name="Верхний колонтитул 4">
            <a:extLst>
              <a:ext uri="{FF2B5EF4-FFF2-40B4-BE49-F238E27FC236}">
                <a16:creationId xmlns:a16="http://schemas.microsoft.com/office/drawing/2014/main" id="{CA9E27B4-4731-8EF7-390E-F680B7065690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20764" cy="5388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1836" indent="-285321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1286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97800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4314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0828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67342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3857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0371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/>
              <a:t>1</a:t>
            </a:r>
          </a:p>
        </p:txBody>
      </p:sp>
      <p:sp>
        <p:nvSpPr>
          <p:cNvPr id="12292" name="Дата 5">
            <a:extLst>
              <a:ext uri="{FF2B5EF4-FFF2-40B4-BE49-F238E27FC236}">
                <a16:creationId xmlns:a16="http://schemas.microsoft.com/office/drawing/2014/main" id="{CB3BE31B-FA8F-8855-0300-4182DD6B8852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6657" y="0"/>
            <a:ext cx="2919178" cy="5388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1836" indent="-285321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1286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97800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4314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0828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67342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3857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0371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901FC64-947B-2C4C-841B-0A3D34AC1E08}" type="datetime1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4.04.202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5041338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>
            <a:extLst>
              <a:ext uri="{FF2B5EF4-FFF2-40B4-BE49-F238E27FC236}">
                <a16:creationId xmlns:a16="http://schemas.microsoft.com/office/drawing/2014/main" id="{C95BD540-0022-C109-364E-FED34A88E7D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6" name="Заметки 2">
            <a:extLst>
              <a:ext uri="{FF2B5EF4-FFF2-40B4-BE49-F238E27FC236}">
                <a16:creationId xmlns:a16="http://schemas.microsoft.com/office/drawing/2014/main" id="{8014A948-8DCC-CDDC-33D8-1F0C5417F76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>
            <a:extLst>
              <a:ext uri="{FF2B5EF4-FFF2-40B4-BE49-F238E27FC236}">
                <a16:creationId xmlns:a16="http://schemas.microsoft.com/office/drawing/2014/main" id="{0AC04562-5B45-2985-46C6-2FD19CD4AF8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219252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>
            <a:extLst>
              <a:ext uri="{FF2B5EF4-FFF2-40B4-BE49-F238E27FC236}">
                <a16:creationId xmlns:a16="http://schemas.microsoft.com/office/drawing/2014/main" id="{C95BD540-0022-C109-364E-FED34A88E7D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6" name="Заметки 2">
            <a:extLst>
              <a:ext uri="{FF2B5EF4-FFF2-40B4-BE49-F238E27FC236}">
                <a16:creationId xmlns:a16="http://schemas.microsoft.com/office/drawing/2014/main" id="{8014A948-8DCC-CDDC-33D8-1F0C5417F76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>
            <a:extLst>
              <a:ext uri="{FF2B5EF4-FFF2-40B4-BE49-F238E27FC236}">
                <a16:creationId xmlns:a16="http://schemas.microsoft.com/office/drawing/2014/main" id="{0AC04562-5B45-2985-46C6-2FD19CD4AF8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68246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>
            <a:extLst>
              <a:ext uri="{FF2B5EF4-FFF2-40B4-BE49-F238E27FC236}">
                <a16:creationId xmlns:a16="http://schemas.microsoft.com/office/drawing/2014/main" id="{C95BD540-0022-C109-364E-FED34A88E7D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6" name="Заметки 2">
            <a:extLst>
              <a:ext uri="{FF2B5EF4-FFF2-40B4-BE49-F238E27FC236}">
                <a16:creationId xmlns:a16="http://schemas.microsoft.com/office/drawing/2014/main" id="{8014A948-8DCC-CDDC-33D8-1F0C5417F76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>
            <a:extLst>
              <a:ext uri="{FF2B5EF4-FFF2-40B4-BE49-F238E27FC236}">
                <a16:creationId xmlns:a16="http://schemas.microsoft.com/office/drawing/2014/main" id="{0AC04562-5B45-2985-46C6-2FD19CD4AF8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8633605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>
            <a:extLst>
              <a:ext uri="{FF2B5EF4-FFF2-40B4-BE49-F238E27FC236}">
                <a16:creationId xmlns:a16="http://schemas.microsoft.com/office/drawing/2014/main" id="{C95BD540-0022-C109-364E-FED34A88E7D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6" name="Заметки 2">
            <a:extLst>
              <a:ext uri="{FF2B5EF4-FFF2-40B4-BE49-F238E27FC236}">
                <a16:creationId xmlns:a16="http://schemas.microsoft.com/office/drawing/2014/main" id="{8014A948-8DCC-CDDC-33D8-1F0C5417F76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>
            <a:extLst>
              <a:ext uri="{FF2B5EF4-FFF2-40B4-BE49-F238E27FC236}">
                <a16:creationId xmlns:a16="http://schemas.microsoft.com/office/drawing/2014/main" id="{0AC04562-5B45-2985-46C6-2FD19CD4AF8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1836" indent="-285321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1286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97800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4314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0828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67342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3857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0371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3881907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AA4D9B-1E3F-4EA3-B564-EFC311034EAF}" type="slidenum">
              <a:rPr lang="ru-RU" smtClean="0"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637289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CFBFE4-135B-403F-8D59-6F00EE71CE51}" type="slidenum">
              <a:rPr lang="ru-RU" smtClean="0"/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42195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Образ слайда 1">
            <a:extLst>
              <a:ext uri="{FF2B5EF4-FFF2-40B4-BE49-F238E27FC236}">
                <a16:creationId xmlns:a16="http://schemas.microsoft.com/office/drawing/2014/main" id="{8A5D462A-EEB6-7FFA-CE30-09383E16EB5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0" name="Заметки 2">
            <a:extLst>
              <a:ext uri="{FF2B5EF4-FFF2-40B4-BE49-F238E27FC236}">
                <a16:creationId xmlns:a16="http://schemas.microsoft.com/office/drawing/2014/main" id="{07394D83-7F23-4F24-3EF7-2B53B12428F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17411" name="Номер слайда 3">
            <a:extLst>
              <a:ext uri="{FF2B5EF4-FFF2-40B4-BE49-F238E27FC236}">
                <a16:creationId xmlns:a16="http://schemas.microsoft.com/office/drawing/2014/main" id="{13A89705-F71C-5CA3-93F7-0F9A005EEEB2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1836" indent="-285321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1286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97800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4314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0828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67342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3857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0371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64713E8-AB38-CB47-9EDC-10FC69928BD3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295779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Образ слайда 1">
            <a:extLst>
              <a:ext uri="{FF2B5EF4-FFF2-40B4-BE49-F238E27FC236}">
                <a16:creationId xmlns:a16="http://schemas.microsoft.com/office/drawing/2014/main" id="{672B4FA2-0558-370E-A2B8-3E8F979C0EF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8" name="Заметки 2">
            <a:extLst>
              <a:ext uri="{FF2B5EF4-FFF2-40B4-BE49-F238E27FC236}">
                <a16:creationId xmlns:a16="http://schemas.microsoft.com/office/drawing/2014/main" id="{FF324775-C7FB-8E6C-5C07-9F66E56D18C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19459" name="Номер слайда 3">
            <a:extLst>
              <a:ext uri="{FF2B5EF4-FFF2-40B4-BE49-F238E27FC236}">
                <a16:creationId xmlns:a16="http://schemas.microsoft.com/office/drawing/2014/main" id="{1DBE5877-BCD5-FE52-30A0-D621EC032B2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1836" indent="-285321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1286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97800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4314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0828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67342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3857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0371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461DFC6-9241-B741-A600-2AD052A8AF97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343251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Образ слайда 1">
            <a:extLst>
              <a:ext uri="{FF2B5EF4-FFF2-40B4-BE49-F238E27FC236}">
                <a16:creationId xmlns:a16="http://schemas.microsoft.com/office/drawing/2014/main" id="{672B4FA2-0558-370E-A2B8-3E8F979C0EF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8" name="Заметки 2">
            <a:extLst>
              <a:ext uri="{FF2B5EF4-FFF2-40B4-BE49-F238E27FC236}">
                <a16:creationId xmlns:a16="http://schemas.microsoft.com/office/drawing/2014/main" id="{FF324775-C7FB-8E6C-5C07-9F66E56D18C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19459" name="Номер слайда 3">
            <a:extLst>
              <a:ext uri="{FF2B5EF4-FFF2-40B4-BE49-F238E27FC236}">
                <a16:creationId xmlns:a16="http://schemas.microsoft.com/office/drawing/2014/main" id="{1DBE5877-BCD5-FE52-30A0-D621EC032B2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1836" indent="-285321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1286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97800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4314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0828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67342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3857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0371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461DFC6-9241-B741-A600-2AD052A8AF97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048870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Образ слайда 1">
            <a:extLst>
              <a:ext uri="{FF2B5EF4-FFF2-40B4-BE49-F238E27FC236}">
                <a16:creationId xmlns:a16="http://schemas.microsoft.com/office/drawing/2014/main" id="{672B4FA2-0558-370E-A2B8-3E8F979C0EF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8" name="Заметки 2">
            <a:extLst>
              <a:ext uri="{FF2B5EF4-FFF2-40B4-BE49-F238E27FC236}">
                <a16:creationId xmlns:a16="http://schemas.microsoft.com/office/drawing/2014/main" id="{FF324775-C7FB-8E6C-5C07-9F66E56D18C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19459" name="Номер слайда 3">
            <a:extLst>
              <a:ext uri="{FF2B5EF4-FFF2-40B4-BE49-F238E27FC236}">
                <a16:creationId xmlns:a16="http://schemas.microsoft.com/office/drawing/2014/main" id="{1DBE5877-BCD5-FE52-30A0-D621EC032B2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1836" indent="-285321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1286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97800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4314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0828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67342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3857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0371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461DFC6-9241-B741-A600-2AD052A8AF97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15321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Образ слайда 1">
            <a:extLst>
              <a:ext uri="{FF2B5EF4-FFF2-40B4-BE49-F238E27FC236}">
                <a16:creationId xmlns:a16="http://schemas.microsoft.com/office/drawing/2014/main" id="{672B4FA2-0558-370E-A2B8-3E8F979C0EF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8" name="Заметки 2">
            <a:extLst>
              <a:ext uri="{FF2B5EF4-FFF2-40B4-BE49-F238E27FC236}">
                <a16:creationId xmlns:a16="http://schemas.microsoft.com/office/drawing/2014/main" id="{FF324775-C7FB-8E6C-5C07-9F66E56D18C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19459" name="Номер слайда 3">
            <a:extLst>
              <a:ext uri="{FF2B5EF4-FFF2-40B4-BE49-F238E27FC236}">
                <a16:creationId xmlns:a16="http://schemas.microsoft.com/office/drawing/2014/main" id="{1DBE5877-BCD5-FE52-30A0-D621EC032B2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1836" indent="-285321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1286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97800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4314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0828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67342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3857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0371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461DFC6-9241-B741-A600-2AD052A8AF97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865373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Образ слайда 1">
            <a:extLst>
              <a:ext uri="{FF2B5EF4-FFF2-40B4-BE49-F238E27FC236}">
                <a16:creationId xmlns:a16="http://schemas.microsoft.com/office/drawing/2014/main" id="{672B4FA2-0558-370E-A2B8-3E8F979C0EF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8" name="Заметки 2">
            <a:extLst>
              <a:ext uri="{FF2B5EF4-FFF2-40B4-BE49-F238E27FC236}">
                <a16:creationId xmlns:a16="http://schemas.microsoft.com/office/drawing/2014/main" id="{FF324775-C7FB-8E6C-5C07-9F66E56D18C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19459" name="Номер слайда 3">
            <a:extLst>
              <a:ext uri="{FF2B5EF4-FFF2-40B4-BE49-F238E27FC236}">
                <a16:creationId xmlns:a16="http://schemas.microsoft.com/office/drawing/2014/main" id="{1DBE5877-BCD5-FE52-30A0-D621EC032B2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1836" indent="-285321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1286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97800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4314" indent="-228257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0828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67342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3857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0371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461DFC6-9241-B741-A600-2AD052A8AF97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334961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>
            <a:extLst>
              <a:ext uri="{FF2B5EF4-FFF2-40B4-BE49-F238E27FC236}">
                <a16:creationId xmlns:a16="http://schemas.microsoft.com/office/drawing/2014/main" id="{C95BD540-0022-C109-364E-FED34A88E7D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6" name="Заметки 2">
            <a:extLst>
              <a:ext uri="{FF2B5EF4-FFF2-40B4-BE49-F238E27FC236}">
                <a16:creationId xmlns:a16="http://schemas.microsoft.com/office/drawing/2014/main" id="{8014A948-8DCC-CDDC-33D8-1F0C5417F76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>
            <a:extLst>
              <a:ext uri="{FF2B5EF4-FFF2-40B4-BE49-F238E27FC236}">
                <a16:creationId xmlns:a16="http://schemas.microsoft.com/office/drawing/2014/main" id="{0AC04562-5B45-2985-46C6-2FD19CD4AF8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102650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Образ слайда 1">
            <a:extLst>
              <a:ext uri="{FF2B5EF4-FFF2-40B4-BE49-F238E27FC236}">
                <a16:creationId xmlns:a16="http://schemas.microsoft.com/office/drawing/2014/main" id="{C95BD540-0022-C109-364E-FED34A88E7D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6" name="Заметки 2">
            <a:extLst>
              <a:ext uri="{FF2B5EF4-FFF2-40B4-BE49-F238E27FC236}">
                <a16:creationId xmlns:a16="http://schemas.microsoft.com/office/drawing/2014/main" id="{8014A948-8DCC-CDDC-33D8-1F0C5417F76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41987" name="Номер слайда 3">
            <a:extLst>
              <a:ext uri="{FF2B5EF4-FFF2-40B4-BE49-F238E27FC236}">
                <a16:creationId xmlns:a16="http://schemas.microsoft.com/office/drawing/2014/main" id="{0AC04562-5B45-2985-46C6-2FD19CD4AF8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6F053DA-2B9C-AB41-BAD2-0ED0BB83FAED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323422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3D217B-9E3A-4555-BD4D-7DA202460D4B}" type="datetimeFigureOut">
              <a:rPr lang="ru-RU" smtClean="0"/>
              <a:t>24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20648-8C36-4289-AF6A-F6EEAECEA6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91919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3D217B-9E3A-4555-BD4D-7DA202460D4B}" type="datetimeFigureOut">
              <a:rPr lang="ru-RU" smtClean="0"/>
              <a:t>24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20648-8C36-4289-AF6A-F6EEAECEA6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97514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3D217B-9E3A-4555-BD4D-7DA202460D4B}" type="datetimeFigureOut">
              <a:rPr lang="ru-RU" smtClean="0"/>
              <a:t>24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20648-8C36-4289-AF6A-F6EEAECEA6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4342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bg>
      <p:bgPr>
        <a:solidFill>
          <a:srgbClr val="2845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29FCB31-1594-71FA-00F3-B343129F443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1425" y="6126163"/>
            <a:ext cx="1630363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41AB272-E44E-D283-5409-800724681D63}"/>
              </a:ext>
            </a:extLst>
          </p:cNvPr>
          <p:cNvSpPr txBox="1"/>
          <p:nvPr userDrawn="1"/>
        </p:nvSpPr>
        <p:spPr>
          <a:xfrm>
            <a:off x="377472" y="6408384"/>
            <a:ext cx="2580290" cy="24622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chemeClr val="bg1">
                    <a:lumMod val="85000"/>
                    <a:alpha val="40000"/>
                  </a:schemeClr>
                </a:solidFill>
                <a:latin typeface="Calibri"/>
              </a:rPr>
              <a:t>© АО «Издательство «Просвещение», 20</a:t>
            </a:r>
            <a:r>
              <a:rPr lang="en-US" sz="1000" dirty="0">
                <a:solidFill>
                  <a:schemeClr val="bg1">
                    <a:lumMod val="85000"/>
                    <a:alpha val="40000"/>
                  </a:schemeClr>
                </a:solidFill>
                <a:latin typeface="Calibri"/>
              </a:rPr>
              <a:t>2</a:t>
            </a:r>
            <a:r>
              <a:rPr lang="ru-RU" sz="1000" dirty="0">
                <a:solidFill>
                  <a:schemeClr val="bg1">
                    <a:lumMod val="85000"/>
                    <a:alpha val="40000"/>
                  </a:schemeClr>
                </a:solidFill>
                <a:latin typeface="Calibri"/>
              </a:rPr>
              <a:t>3</a:t>
            </a:r>
          </a:p>
        </p:txBody>
      </p:sp>
      <p:sp>
        <p:nvSpPr>
          <p:cNvPr id="6" name="Текст 1">
            <a:extLst>
              <a:ext uri="{FF2B5EF4-FFF2-40B4-BE49-F238E27FC236}">
                <a16:creationId xmlns:a16="http://schemas.microsoft.com/office/drawing/2014/main" id="{CADCFE0E-ADAB-08A4-0DE1-151EEF9FA4CC}"/>
              </a:ext>
            </a:extLst>
          </p:cNvPr>
          <p:cNvSpPr txBox="1">
            <a:spLocks/>
          </p:cNvSpPr>
          <p:nvPr userDrawn="1"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4D553401-FACE-5145-91D4-367C9A7B6772}" type="slidenum">
              <a:rPr lang="ru-RU" sz="1400" b="1" smtClean="0">
                <a:solidFill>
                  <a:schemeClr val="bg1"/>
                </a:solidFill>
                <a:latin typeface="+mn-lt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0" name="Рисунок 9" descr="Изображение выглядит как текст, наружный объект&#10;&#10;Автоматически созданное описание">
            <a:extLst>
              <a:ext uri="{FF2B5EF4-FFF2-40B4-BE49-F238E27FC236}">
                <a16:creationId xmlns:a16="http://schemas.microsoft.com/office/drawing/2014/main" id="{483C3F96-44B6-9378-355F-F96EBB399C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5" t="1520" r="618" b="76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09461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855EFB3-4D89-83D0-0EE6-926E4C50A7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4" r="1834" b="17506"/>
          <a:stretch>
            <a:fillRect/>
          </a:stretch>
        </p:blipFill>
        <p:spPr bwMode="auto">
          <a:xfrm>
            <a:off x="9891713" y="6126163"/>
            <a:ext cx="2112962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5076575-B14E-6F73-7BC6-0A977627B687}"/>
              </a:ext>
            </a:extLst>
          </p:cNvPr>
          <p:cNvSpPr/>
          <p:nvPr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© АО «Издательство «Просвещение», 20</a:t>
            </a:r>
            <a:r>
              <a:rPr lang="en-US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</a:p>
        </p:txBody>
      </p:sp>
      <p:sp>
        <p:nvSpPr>
          <p:cNvPr id="4" name="Текст 1">
            <a:extLst>
              <a:ext uri="{FF2B5EF4-FFF2-40B4-BE49-F238E27FC236}">
                <a16:creationId xmlns:a16="http://schemas.microsoft.com/office/drawing/2014/main" id="{A7657630-173D-EF10-249D-8D4E8DBE8A8F}"/>
              </a:ext>
            </a:extLst>
          </p:cNvPr>
          <p:cNvSpPr txBox="1">
            <a:spLocks/>
          </p:cNvSpPr>
          <p:nvPr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5E693BC3-FA09-7141-A0E8-7BF7E26C7440}" type="slidenum">
              <a:rPr lang="ru-RU" sz="1400" b="1" smtClean="0">
                <a:solidFill>
                  <a:srgbClr val="233C78"/>
                </a:solidFill>
                <a:latin typeface="+mn-lt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rgbClr val="233C78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447062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AAA2F3E-B21F-C481-9DFC-69FEE13447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4" r="1834" b="17506"/>
          <a:stretch>
            <a:fillRect/>
          </a:stretch>
        </p:blipFill>
        <p:spPr bwMode="auto">
          <a:xfrm>
            <a:off x="9891713" y="6126163"/>
            <a:ext cx="2112962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DEDF3A6D-5968-FFE1-7CF7-D6B05FFBE6B5}"/>
              </a:ext>
            </a:extLst>
          </p:cNvPr>
          <p:cNvSpPr/>
          <p:nvPr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© АО «Издательство «Просвещение», 20</a:t>
            </a:r>
            <a:r>
              <a:rPr lang="en-US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3</a:t>
            </a:r>
          </a:p>
        </p:txBody>
      </p:sp>
      <p:sp>
        <p:nvSpPr>
          <p:cNvPr id="4" name="Текст 1">
            <a:extLst>
              <a:ext uri="{FF2B5EF4-FFF2-40B4-BE49-F238E27FC236}">
                <a16:creationId xmlns:a16="http://schemas.microsoft.com/office/drawing/2014/main" id="{90989494-9CB2-26A3-6664-6B2BD7603293}"/>
              </a:ext>
            </a:extLst>
          </p:cNvPr>
          <p:cNvSpPr txBox="1">
            <a:spLocks/>
          </p:cNvSpPr>
          <p:nvPr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7E7E2665-0458-694C-B3A0-8F8BA25A8619}" type="slidenum">
              <a:rPr lang="ru-RU" sz="1400" b="1" smtClean="0">
                <a:solidFill>
                  <a:srgbClr val="233C78"/>
                </a:solidFill>
                <a:latin typeface="+mn-lt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rgbClr val="233C78"/>
              </a:solidFill>
              <a:latin typeface="+mn-lt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821399B-39BD-C4DC-B289-A7EC1138421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1522" r="488" b="72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046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80EC7F88-826E-9B7F-5319-5965C5F496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4" r="1834" b="17506"/>
          <a:stretch>
            <a:fillRect/>
          </a:stretch>
        </p:blipFill>
        <p:spPr bwMode="auto">
          <a:xfrm>
            <a:off x="9891713" y="6126163"/>
            <a:ext cx="2112962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11A277CD-E6E9-48AD-F017-3E18A8695E48}"/>
              </a:ext>
            </a:extLst>
          </p:cNvPr>
          <p:cNvSpPr/>
          <p:nvPr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© АО «Издательство «Просвещение», 20</a:t>
            </a:r>
            <a:r>
              <a:rPr lang="en-US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3</a:t>
            </a:r>
          </a:p>
        </p:txBody>
      </p:sp>
      <p:sp>
        <p:nvSpPr>
          <p:cNvPr id="4" name="Текст 1">
            <a:extLst>
              <a:ext uri="{FF2B5EF4-FFF2-40B4-BE49-F238E27FC236}">
                <a16:creationId xmlns:a16="http://schemas.microsoft.com/office/drawing/2014/main" id="{7BD6D3C8-E52B-9B2B-E6F1-D260141EACD0}"/>
              </a:ext>
            </a:extLst>
          </p:cNvPr>
          <p:cNvSpPr txBox="1">
            <a:spLocks/>
          </p:cNvSpPr>
          <p:nvPr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C8B0588C-5D01-654B-9A15-2A6BDD1112E5}" type="slidenum">
              <a:rPr lang="ru-RU" sz="1400" b="1" smtClean="0">
                <a:solidFill>
                  <a:srgbClr val="233C78"/>
                </a:solidFill>
                <a:latin typeface="+mn-lt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rgbClr val="233C78"/>
              </a:solidFill>
              <a:latin typeface="+mn-lt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9429828-2323-0D85-68BE-5EADC9D5D67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50399" r="79681" b="724"/>
          <a:stretch/>
        </p:blipFill>
        <p:spPr>
          <a:xfrm>
            <a:off x="0" y="3429000"/>
            <a:ext cx="2423886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0077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D330683-699C-150D-CAD8-934C0B25B5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4" r="1834" b="17506"/>
          <a:stretch>
            <a:fillRect/>
          </a:stretch>
        </p:blipFill>
        <p:spPr bwMode="auto">
          <a:xfrm>
            <a:off x="9891713" y="6126163"/>
            <a:ext cx="2112962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50B9D8F-1C2C-7969-1E8D-E2900A1A2404}"/>
              </a:ext>
            </a:extLst>
          </p:cNvPr>
          <p:cNvSpPr/>
          <p:nvPr/>
        </p:nvSpPr>
        <p:spPr>
          <a:xfrm>
            <a:off x="479425" y="6445712"/>
            <a:ext cx="3006571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© АО «Издательство «Просвещение», 20</a:t>
            </a:r>
            <a:r>
              <a:rPr lang="en-US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2</a:t>
            </a:r>
            <a:r>
              <a:rPr lang="ru-RU" sz="1000" dirty="0">
                <a:solidFill>
                  <a:srgbClr val="233C78">
                    <a:alpha val="40000"/>
                  </a:srgbClr>
                </a:solidFill>
                <a:latin typeface="Calibri"/>
              </a:rPr>
              <a:t>3</a:t>
            </a:r>
          </a:p>
        </p:txBody>
      </p:sp>
      <p:sp>
        <p:nvSpPr>
          <p:cNvPr id="4" name="Текст 1">
            <a:extLst>
              <a:ext uri="{FF2B5EF4-FFF2-40B4-BE49-F238E27FC236}">
                <a16:creationId xmlns:a16="http://schemas.microsoft.com/office/drawing/2014/main" id="{AA9ED4E5-BF69-E730-F789-86BE14B76B66}"/>
              </a:ext>
            </a:extLst>
          </p:cNvPr>
          <p:cNvSpPr txBox="1">
            <a:spLocks/>
          </p:cNvSpPr>
          <p:nvPr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54CCFB8C-31FB-7740-8689-E3BD672453E9}" type="slidenum">
              <a:rPr lang="ru-RU" sz="1400" b="1" smtClean="0">
                <a:solidFill>
                  <a:srgbClr val="233C78"/>
                </a:solidFill>
                <a:latin typeface="+mn-lt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rgbClr val="233C78"/>
              </a:solidFill>
              <a:latin typeface="+mn-lt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94975FE2-213F-E442-88F6-779083CEC1E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564" t="1522" r="489" b="41998"/>
          <a:stretch/>
        </p:blipFill>
        <p:spPr>
          <a:xfrm>
            <a:off x="8374742" y="0"/>
            <a:ext cx="3817257" cy="396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7361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bg>
      <p:bgPr>
        <a:solidFill>
          <a:srgbClr val="2845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29FCB31-1594-71FA-00F3-B343129F44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1425" y="6126163"/>
            <a:ext cx="1630363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41AB272-E44E-D283-5409-800724681D63}"/>
              </a:ext>
            </a:extLst>
          </p:cNvPr>
          <p:cNvSpPr txBox="1"/>
          <p:nvPr/>
        </p:nvSpPr>
        <p:spPr>
          <a:xfrm>
            <a:off x="377472" y="6408384"/>
            <a:ext cx="2580290" cy="24622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chemeClr val="bg1">
                    <a:lumMod val="85000"/>
                    <a:alpha val="40000"/>
                  </a:schemeClr>
                </a:solidFill>
                <a:latin typeface="Calibri"/>
              </a:rPr>
              <a:t>© АО «Издательство «Просвещение», 20</a:t>
            </a:r>
            <a:r>
              <a:rPr lang="en-US" sz="1000" dirty="0">
                <a:solidFill>
                  <a:schemeClr val="bg1">
                    <a:lumMod val="85000"/>
                    <a:alpha val="40000"/>
                  </a:schemeClr>
                </a:solidFill>
                <a:latin typeface="Calibri"/>
              </a:rPr>
              <a:t>2</a:t>
            </a:r>
            <a:r>
              <a:rPr lang="ru-RU" sz="1000" dirty="0">
                <a:solidFill>
                  <a:schemeClr val="bg1">
                    <a:lumMod val="85000"/>
                    <a:alpha val="40000"/>
                  </a:schemeClr>
                </a:solidFill>
                <a:latin typeface="Calibri"/>
              </a:rPr>
              <a:t>2</a:t>
            </a:r>
          </a:p>
        </p:txBody>
      </p:sp>
      <p:sp>
        <p:nvSpPr>
          <p:cNvPr id="6" name="Текст 1">
            <a:extLst>
              <a:ext uri="{FF2B5EF4-FFF2-40B4-BE49-F238E27FC236}">
                <a16:creationId xmlns:a16="http://schemas.microsoft.com/office/drawing/2014/main" id="{CADCFE0E-ADAB-08A4-0DE1-151EEF9FA4CC}"/>
              </a:ext>
            </a:extLst>
          </p:cNvPr>
          <p:cNvSpPr txBox="1">
            <a:spLocks/>
          </p:cNvSpPr>
          <p:nvPr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4D553401-FACE-5145-91D4-367C9A7B6772}" type="slidenum">
              <a:rPr lang="ru-RU" sz="1400" b="1" smtClean="0">
                <a:solidFill>
                  <a:schemeClr val="bg1"/>
                </a:solidFill>
                <a:latin typeface="+mn-lt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0" name="Рисунок 9" descr="Изображение выглядит как текст, наружный объект&#10;&#10;Автоматически созданное описание">
            <a:extLst>
              <a:ext uri="{FF2B5EF4-FFF2-40B4-BE49-F238E27FC236}">
                <a16:creationId xmlns:a16="http://schemas.microsoft.com/office/drawing/2014/main" id="{483C3F96-44B6-9378-355F-F96EBB399CF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5" t="1520" r="618" b="76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29FCB31-1594-71FA-00F3-B343129F443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1425" y="6126163"/>
            <a:ext cx="1630363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41AB272-E44E-D283-5409-800724681D63}"/>
              </a:ext>
            </a:extLst>
          </p:cNvPr>
          <p:cNvSpPr txBox="1"/>
          <p:nvPr userDrawn="1"/>
        </p:nvSpPr>
        <p:spPr>
          <a:xfrm>
            <a:off x="377472" y="6408384"/>
            <a:ext cx="2580290" cy="24622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chemeClr val="bg1">
                    <a:lumMod val="85000"/>
                    <a:alpha val="40000"/>
                  </a:schemeClr>
                </a:solidFill>
                <a:latin typeface="Calibri"/>
              </a:rPr>
              <a:t>© АО «Издательство «Просвещение», 20</a:t>
            </a:r>
            <a:r>
              <a:rPr lang="en-US" sz="1000" dirty="0">
                <a:solidFill>
                  <a:schemeClr val="bg1">
                    <a:lumMod val="85000"/>
                    <a:alpha val="40000"/>
                  </a:schemeClr>
                </a:solidFill>
                <a:latin typeface="Calibri"/>
              </a:rPr>
              <a:t>2</a:t>
            </a:r>
            <a:r>
              <a:rPr lang="ru-RU" sz="1000" dirty="0">
                <a:solidFill>
                  <a:schemeClr val="bg1">
                    <a:lumMod val="85000"/>
                    <a:alpha val="40000"/>
                  </a:schemeClr>
                </a:solidFill>
                <a:latin typeface="Calibri"/>
              </a:rPr>
              <a:t>3</a:t>
            </a:r>
          </a:p>
        </p:txBody>
      </p:sp>
      <p:sp>
        <p:nvSpPr>
          <p:cNvPr id="9" name="Текст 1">
            <a:extLst>
              <a:ext uri="{FF2B5EF4-FFF2-40B4-BE49-F238E27FC236}">
                <a16:creationId xmlns:a16="http://schemas.microsoft.com/office/drawing/2014/main" id="{CADCFE0E-ADAB-08A4-0DE1-151EEF9FA4CC}"/>
              </a:ext>
            </a:extLst>
          </p:cNvPr>
          <p:cNvSpPr txBox="1">
            <a:spLocks/>
          </p:cNvSpPr>
          <p:nvPr userDrawn="1"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4D553401-FACE-5145-91D4-367C9A7B6772}" type="slidenum">
              <a:rPr lang="ru-RU" sz="1400" b="1" smtClean="0">
                <a:solidFill>
                  <a:schemeClr val="bg1"/>
                </a:solidFill>
                <a:latin typeface="+mn-lt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383060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Титульный слайд">
    <p:bg>
      <p:bgPr>
        <a:solidFill>
          <a:srgbClr val="2845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4D96B10B-D1F2-2889-7740-2A1AAD6A03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1425" y="6126163"/>
            <a:ext cx="1630363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3A48931-DE1B-7B9C-7557-0D74F3271C78}"/>
              </a:ext>
            </a:extLst>
          </p:cNvPr>
          <p:cNvSpPr txBox="1"/>
          <p:nvPr/>
        </p:nvSpPr>
        <p:spPr>
          <a:xfrm>
            <a:off x="377472" y="6408384"/>
            <a:ext cx="2580290" cy="24622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9143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chemeClr val="bg1">
                    <a:lumMod val="85000"/>
                    <a:alpha val="40000"/>
                  </a:schemeClr>
                </a:solidFill>
                <a:latin typeface="Calibri"/>
              </a:rPr>
              <a:t>© АО «Издательство «Просвещение», 20</a:t>
            </a:r>
            <a:r>
              <a:rPr lang="en-US" sz="1000" dirty="0">
                <a:solidFill>
                  <a:schemeClr val="bg1">
                    <a:lumMod val="85000"/>
                    <a:alpha val="40000"/>
                  </a:schemeClr>
                </a:solidFill>
                <a:latin typeface="Calibri"/>
              </a:rPr>
              <a:t>2</a:t>
            </a:r>
            <a:r>
              <a:rPr lang="ru-RU" sz="1000" dirty="0">
                <a:solidFill>
                  <a:schemeClr val="bg1">
                    <a:lumMod val="85000"/>
                    <a:alpha val="40000"/>
                  </a:schemeClr>
                </a:solidFill>
                <a:latin typeface="Calibri"/>
              </a:rPr>
              <a:t>2</a:t>
            </a:r>
          </a:p>
        </p:txBody>
      </p:sp>
      <p:sp>
        <p:nvSpPr>
          <p:cNvPr id="5" name="Текст 1">
            <a:extLst>
              <a:ext uri="{FF2B5EF4-FFF2-40B4-BE49-F238E27FC236}">
                <a16:creationId xmlns:a16="http://schemas.microsoft.com/office/drawing/2014/main" id="{B1C82FB5-334E-B35D-0144-3A501DBFC69C}"/>
              </a:ext>
            </a:extLst>
          </p:cNvPr>
          <p:cNvSpPr txBox="1">
            <a:spLocks/>
          </p:cNvSpPr>
          <p:nvPr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0E93D095-A689-F240-BF42-231550FCE3F9}" type="slidenum">
              <a:rPr lang="ru-RU" sz="1400" b="1" smtClean="0">
                <a:solidFill>
                  <a:schemeClr val="bg1"/>
                </a:solidFill>
                <a:latin typeface="+mn-lt"/>
              </a:rPr>
              <a:pPr algn="r" defTabSz="914348">
                <a:defRPr/>
              </a:pPr>
              <a:t>‹#›</a:t>
            </a:fld>
            <a:endParaRPr lang="ru-RU" sz="14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6" name="Рисунок 5" descr="Изображение выглядит как текст, наружный объект&#10;&#10;Автоматически созданное описание">
            <a:extLst>
              <a:ext uri="{FF2B5EF4-FFF2-40B4-BE49-F238E27FC236}">
                <a16:creationId xmlns:a16="http://schemas.microsoft.com/office/drawing/2014/main" id="{65BE0369-A2BE-E57B-F0F4-6659ECDFF5E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4" t="1520" r="78514" b="762"/>
          <a:stretch/>
        </p:blipFill>
        <p:spPr>
          <a:xfrm>
            <a:off x="0" y="0"/>
            <a:ext cx="25802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7098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Титульный слайд">
    <p:bg>
      <p:bgPr>
        <a:solidFill>
          <a:srgbClr val="2845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Изображение выглядит как текст, наружный объект&#10;&#10;Автоматически созданное описание">
            <a:extLst>
              <a:ext uri="{FF2B5EF4-FFF2-40B4-BE49-F238E27FC236}">
                <a16:creationId xmlns:a16="http://schemas.microsoft.com/office/drawing/2014/main" id="{8DF91234-A22E-7EA1-DC80-8DFCB704969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764" t="-868" r="618" b="41586"/>
          <a:stretch/>
        </p:blipFill>
        <p:spPr>
          <a:xfrm>
            <a:off x="8290560" y="563880"/>
            <a:ext cx="3901440" cy="4160520"/>
          </a:xfrm>
          <a:prstGeom prst="rect">
            <a:avLst/>
          </a:prstGeom>
        </p:spPr>
      </p:pic>
      <p:pic>
        <p:nvPicPr>
          <p:cNvPr id="6" name="Рисунок 5" descr="Изображение выглядит как текст, наружный объект&#10;&#10;Автоматически созданное описание">
            <a:extLst>
              <a:ext uri="{FF2B5EF4-FFF2-40B4-BE49-F238E27FC236}">
                <a16:creationId xmlns:a16="http://schemas.microsoft.com/office/drawing/2014/main" id="{0A9C1204-1853-2617-E9D4-65A046D1177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alphaModFix amt="3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764" t="-868" r="618" b="41586"/>
          <a:stretch/>
        </p:blipFill>
        <p:spPr>
          <a:xfrm rot="10800000">
            <a:off x="1" y="563880"/>
            <a:ext cx="3901440" cy="4160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9622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3D217B-9E3A-4555-BD4D-7DA202460D4B}" type="datetimeFigureOut">
              <a:rPr lang="ru-RU" smtClean="0"/>
              <a:t>24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20648-8C36-4289-AF6A-F6EEAECEA6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357277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3D217B-9E3A-4555-BD4D-7DA202460D4B}" type="datetimeFigureOut">
              <a:rPr lang="ru-RU" smtClean="0"/>
              <a:t>24.04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20648-8C36-4289-AF6A-F6EEAECEA6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65344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3D217B-9E3A-4555-BD4D-7DA202460D4B}" type="datetimeFigureOut">
              <a:rPr lang="ru-RU" smtClean="0"/>
              <a:t>24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20648-8C36-4289-AF6A-F6EEAECEA6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90037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73D217B-9E3A-4555-BD4D-7DA202460D4B}" type="datetimeFigureOut">
              <a:rPr lang="ru-RU" smtClean="0"/>
              <a:t>24.04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B20648-8C36-4289-AF6A-F6EEAECEA6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0532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8"/>
          <p:cNvSpPr>
            <a:spLocks noGrp="1"/>
          </p:cNvSpPr>
          <p:nvPr>
            <p:ph type="pic" sz="quarter" idx="13"/>
          </p:nvPr>
        </p:nvSpPr>
        <p:spPr>
          <a:xfrm>
            <a:off x="6642316" y="317500"/>
            <a:ext cx="4992744" cy="6076473"/>
          </a:xfrm>
          <a:custGeom>
            <a:avLst/>
            <a:gdLst>
              <a:gd name="connsiteX0" fmla="*/ 0 w 4992744"/>
              <a:gd name="connsiteY0" fmla="*/ 0 h 6076473"/>
              <a:gd name="connsiteX1" fmla="*/ 4992744 w 4992744"/>
              <a:gd name="connsiteY1" fmla="*/ 0 h 6076473"/>
              <a:gd name="connsiteX2" fmla="*/ 4992744 w 4992744"/>
              <a:gd name="connsiteY2" fmla="*/ 6076473 h 6076473"/>
              <a:gd name="connsiteX3" fmla="*/ 0 w 4992744"/>
              <a:gd name="connsiteY3" fmla="*/ 6076473 h 6076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92744" h="6076473">
                <a:moveTo>
                  <a:pt x="0" y="0"/>
                </a:moveTo>
                <a:lnTo>
                  <a:pt x="4992744" y="0"/>
                </a:lnTo>
                <a:lnTo>
                  <a:pt x="4992744" y="6076473"/>
                </a:lnTo>
                <a:lnTo>
                  <a:pt x="0" y="6076473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773D217B-9E3A-4555-BD4D-7DA202460D4B}" type="datetimeFigureOut">
              <a:rPr lang="ru-RU" smtClean="0"/>
              <a:t>24.04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1B20648-8C36-4289-AF6A-F6EEAECEA6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61377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 descr="000356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3" y="0"/>
            <a:ext cx="12192003" cy="6858000"/>
          </a:xfrm>
          <a:prstGeom prst="rect">
            <a:avLst/>
          </a:prstGeom>
        </p:spPr>
      </p:pic>
      <p:sp>
        <p:nvSpPr>
          <p:cNvPr id="9" name="Заголовок 1"/>
          <p:cNvSpPr>
            <a:spLocks noGrp="1"/>
          </p:cNvSpPr>
          <p:nvPr>
            <p:ph type="ctrTitle"/>
          </p:nvPr>
        </p:nvSpPr>
        <p:spPr>
          <a:xfrm>
            <a:off x="737188" y="921366"/>
            <a:ext cx="9144000" cy="2387600"/>
          </a:xfrm>
        </p:spPr>
        <p:txBody>
          <a:bodyPr>
            <a:normAutofit fontScale="90000"/>
          </a:bodyPr>
          <a:lstStyle>
            <a:lvl1pPr>
              <a:defRPr/>
            </a:lvl1pPr>
          </a:lstStyle>
          <a:p>
            <a:pPr algn="l"/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/>
          </p:nvPr>
        </p:nvSpPr>
        <p:spPr>
          <a:xfrm>
            <a:off x="737188" y="3507577"/>
            <a:ext cx="9144000" cy="16557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algn="l"/>
            <a:endParaRPr lang="ru-R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Рисунок 11" descr="line.jpg"/>
          <p:cNvPicPr>
            <a:picLocks noChangeAspect="1"/>
          </p:cNvPicPr>
          <p:nvPr userDrawn="1"/>
        </p:nvPicPr>
        <p:blipFill rotWithShape="1">
          <a:blip r:embed="rId3" cstate="print"/>
          <a:srcRect l="176" t="10082" b="-3"/>
          <a:stretch/>
        </p:blipFill>
        <p:spPr>
          <a:xfrm rot="10800000">
            <a:off x="-3" y="6790649"/>
            <a:ext cx="12192001" cy="67350"/>
          </a:xfrm>
          <a:prstGeom prst="rect">
            <a:avLst/>
          </a:prstGeom>
        </p:spPr>
      </p:pic>
      <p:sp>
        <p:nvSpPr>
          <p:cNvPr id="13" name="AutoShape 4"/>
          <p:cNvSpPr>
            <a:spLocks noChangeAspect="1" noChangeArrowheads="1" noTextEdit="1"/>
          </p:cNvSpPr>
          <p:nvPr userDrawn="1"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" name="Freeform 6"/>
          <p:cNvSpPr>
            <a:spLocks/>
          </p:cNvSpPr>
          <p:nvPr userDrawn="1"/>
        </p:nvSpPr>
        <p:spPr bwMode="auto">
          <a:xfrm>
            <a:off x="10104558" y="546724"/>
            <a:ext cx="576131" cy="33206"/>
          </a:xfrm>
          <a:custGeom>
            <a:avLst/>
            <a:gdLst/>
            <a:ahLst/>
            <a:cxnLst>
              <a:cxn ang="0">
                <a:pos x="1505" y="0"/>
              </a:cxn>
              <a:cxn ang="0">
                <a:pos x="0" y="0"/>
              </a:cxn>
              <a:cxn ang="0">
                <a:pos x="0" y="84"/>
              </a:cxn>
              <a:cxn ang="0">
                <a:pos x="1509" y="84"/>
              </a:cxn>
              <a:cxn ang="0">
                <a:pos x="1505" y="0"/>
              </a:cxn>
            </a:cxnLst>
            <a:rect l="0" t="0" r="r" b="b"/>
            <a:pathLst>
              <a:path w="1509" h="84">
                <a:moveTo>
                  <a:pt x="1505" y="0"/>
                </a:moveTo>
                <a:lnTo>
                  <a:pt x="0" y="0"/>
                </a:lnTo>
                <a:lnTo>
                  <a:pt x="0" y="84"/>
                </a:lnTo>
                <a:lnTo>
                  <a:pt x="1509" y="84"/>
                </a:lnTo>
                <a:lnTo>
                  <a:pt x="1505" y="0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Freeform 7"/>
          <p:cNvSpPr>
            <a:spLocks/>
          </p:cNvSpPr>
          <p:nvPr userDrawn="1"/>
        </p:nvSpPr>
        <p:spPr bwMode="auto">
          <a:xfrm>
            <a:off x="11029357" y="546724"/>
            <a:ext cx="576131" cy="33206"/>
          </a:xfrm>
          <a:custGeom>
            <a:avLst/>
            <a:gdLst/>
            <a:ahLst/>
            <a:cxnLst>
              <a:cxn ang="0">
                <a:pos x="1510" y="0"/>
              </a:cxn>
              <a:cxn ang="0">
                <a:pos x="9" y="0"/>
              </a:cxn>
              <a:cxn ang="0">
                <a:pos x="0" y="84"/>
              </a:cxn>
              <a:cxn ang="0">
                <a:pos x="1510" y="84"/>
              </a:cxn>
              <a:cxn ang="0">
                <a:pos x="1510" y="0"/>
              </a:cxn>
            </a:cxnLst>
            <a:rect l="0" t="0" r="r" b="b"/>
            <a:pathLst>
              <a:path w="1510" h="84">
                <a:moveTo>
                  <a:pt x="1510" y="0"/>
                </a:moveTo>
                <a:lnTo>
                  <a:pt x="9" y="0"/>
                </a:lnTo>
                <a:lnTo>
                  <a:pt x="0" y="84"/>
                </a:lnTo>
                <a:lnTo>
                  <a:pt x="1510" y="84"/>
                </a:lnTo>
                <a:lnTo>
                  <a:pt x="1510" y="0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Freeform 8"/>
          <p:cNvSpPr>
            <a:spLocks/>
          </p:cNvSpPr>
          <p:nvPr userDrawn="1"/>
        </p:nvSpPr>
        <p:spPr bwMode="auto">
          <a:xfrm>
            <a:off x="10099577" y="666268"/>
            <a:ext cx="131166" cy="122864"/>
          </a:xfrm>
          <a:custGeom>
            <a:avLst/>
            <a:gdLst/>
            <a:ahLst/>
            <a:cxnLst>
              <a:cxn ang="0">
                <a:pos x="0" y="17"/>
              </a:cxn>
              <a:cxn ang="0">
                <a:pos x="42" y="26"/>
              </a:cxn>
              <a:cxn ang="0">
                <a:pos x="42" y="283"/>
              </a:cxn>
              <a:cxn ang="0">
                <a:pos x="0" y="292"/>
              </a:cxn>
              <a:cxn ang="0">
                <a:pos x="0" y="309"/>
              </a:cxn>
              <a:cxn ang="0">
                <a:pos x="148" y="309"/>
              </a:cxn>
              <a:cxn ang="0">
                <a:pos x="148" y="292"/>
              </a:cxn>
              <a:cxn ang="0">
                <a:pos x="106" y="283"/>
              </a:cxn>
              <a:cxn ang="0">
                <a:pos x="106" y="30"/>
              </a:cxn>
              <a:cxn ang="0">
                <a:pos x="232" y="30"/>
              </a:cxn>
              <a:cxn ang="0">
                <a:pos x="232" y="283"/>
              </a:cxn>
              <a:cxn ang="0">
                <a:pos x="190" y="292"/>
              </a:cxn>
              <a:cxn ang="0">
                <a:pos x="190" y="309"/>
              </a:cxn>
              <a:cxn ang="0">
                <a:pos x="342" y="309"/>
              </a:cxn>
              <a:cxn ang="0">
                <a:pos x="342" y="292"/>
              </a:cxn>
              <a:cxn ang="0">
                <a:pos x="300" y="283"/>
              </a:cxn>
              <a:cxn ang="0">
                <a:pos x="300" y="26"/>
              </a:cxn>
              <a:cxn ang="0">
                <a:pos x="342" y="17"/>
              </a:cxn>
              <a:cxn ang="0">
                <a:pos x="342" y="0"/>
              </a:cxn>
              <a:cxn ang="0">
                <a:pos x="0" y="0"/>
              </a:cxn>
              <a:cxn ang="0">
                <a:pos x="0" y="17"/>
              </a:cxn>
            </a:cxnLst>
            <a:rect l="0" t="0" r="r" b="b"/>
            <a:pathLst>
              <a:path w="342" h="309">
                <a:moveTo>
                  <a:pt x="0" y="17"/>
                </a:moveTo>
                <a:lnTo>
                  <a:pt x="42" y="26"/>
                </a:lnTo>
                <a:lnTo>
                  <a:pt x="42" y="283"/>
                </a:lnTo>
                <a:lnTo>
                  <a:pt x="0" y="292"/>
                </a:lnTo>
                <a:lnTo>
                  <a:pt x="0" y="309"/>
                </a:lnTo>
                <a:lnTo>
                  <a:pt x="148" y="309"/>
                </a:lnTo>
                <a:lnTo>
                  <a:pt x="148" y="292"/>
                </a:lnTo>
                <a:lnTo>
                  <a:pt x="106" y="283"/>
                </a:lnTo>
                <a:lnTo>
                  <a:pt x="106" y="30"/>
                </a:lnTo>
                <a:lnTo>
                  <a:pt x="232" y="30"/>
                </a:lnTo>
                <a:lnTo>
                  <a:pt x="232" y="283"/>
                </a:lnTo>
                <a:lnTo>
                  <a:pt x="190" y="292"/>
                </a:lnTo>
                <a:lnTo>
                  <a:pt x="190" y="309"/>
                </a:lnTo>
                <a:lnTo>
                  <a:pt x="342" y="309"/>
                </a:lnTo>
                <a:lnTo>
                  <a:pt x="342" y="292"/>
                </a:lnTo>
                <a:lnTo>
                  <a:pt x="300" y="283"/>
                </a:lnTo>
                <a:lnTo>
                  <a:pt x="300" y="26"/>
                </a:lnTo>
                <a:lnTo>
                  <a:pt x="342" y="17"/>
                </a:lnTo>
                <a:lnTo>
                  <a:pt x="342" y="0"/>
                </a:lnTo>
                <a:lnTo>
                  <a:pt x="0" y="0"/>
                </a:lnTo>
                <a:lnTo>
                  <a:pt x="0" y="17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7" name="Freeform 9"/>
          <p:cNvSpPr>
            <a:spLocks noEditPoints="1"/>
          </p:cNvSpPr>
          <p:nvPr userDrawn="1"/>
        </p:nvSpPr>
        <p:spPr bwMode="auto">
          <a:xfrm>
            <a:off x="10253987" y="666268"/>
            <a:ext cx="89658" cy="122864"/>
          </a:xfrm>
          <a:custGeom>
            <a:avLst/>
            <a:gdLst/>
            <a:ahLst/>
            <a:cxnLst>
              <a:cxn ang="0">
                <a:pos x="148" y="0"/>
              </a:cxn>
              <a:cxn ang="0">
                <a:pos x="139" y="0"/>
              </a:cxn>
              <a:cxn ang="0">
                <a:pos x="0" y="0"/>
              </a:cxn>
              <a:cxn ang="0">
                <a:pos x="0" y="17"/>
              </a:cxn>
              <a:cxn ang="0">
                <a:pos x="38" y="26"/>
              </a:cxn>
              <a:cxn ang="0">
                <a:pos x="38" y="283"/>
              </a:cxn>
              <a:cxn ang="0">
                <a:pos x="0" y="292"/>
              </a:cxn>
              <a:cxn ang="0">
                <a:pos x="0" y="309"/>
              </a:cxn>
              <a:cxn ang="0">
                <a:pos x="139" y="309"/>
              </a:cxn>
              <a:cxn ang="0">
                <a:pos x="156" y="309"/>
              </a:cxn>
              <a:cxn ang="0">
                <a:pos x="156" y="292"/>
              </a:cxn>
              <a:cxn ang="0">
                <a:pos x="139" y="288"/>
              </a:cxn>
              <a:cxn ang="0">
                <a:pos x="101" y="283"/>
              </a:cxn>
              <a:cxn ang="0">
                <a:pos x="101" y="178"/>
              </a:cxn>
              <a:cxn ang="0">
                <a:pos x="127" y="178"/>
              </a:cxn>
              <a:cxn ang="0">
                <a:pos x="139" y="178"/>
              </a:cxn>
              <a:cxn ang="0">
                <a:pos x="236" y="81"/>
              </a:cxn>
              <a:cxn ang="0">
                <a:pos x="148" y="0"/>
              </a:cxn>
              <a:cxn ang="0">
                <a:pos x="139" y="161"/>
              </a:cxn>
              <a:cxn ang="0">
                <a:pos x="139" y="161"/>
              </a:cxn>
              <a:cxn ang="0">
                <a:pos x="118" y="161"/>
              </a:cxn>
              <a:cxn ang="0">
                <a:pos x="101" y="161"/>
              </a:cxn>
              <a:cxn ang="0">
                <a:pos x="101" y="21"/>
              </a:cxn>
              <a:cxn ang="0">
                <a:pos x="118" y="21"/>
              </a:cxn>
              <a:cxn ang="0">
                <a:pos x="139" y="26"/>
              </a:cxn>
              <a:cxn ang="0">
                <a:pos x="173" y="93"/>
              </a:cxn>
              <a:cxn ang="0">
                <a:pos x="139" y="161"/>
              </a:cxn>
            </a:cxnLst>
            <a:rect l="0" t="0" r="r" b="b"/>
            <a:pathLst>
              <a:path w="236" h="309">
                <a:moveTo>
                  <a:pt x="148" y="0"/>
                </a:moveTo>
                <a:lnTo>
                  <a:pt x="139" y="0"/>
                </a:lnTo>
                <a:lnTo>
                  <a:pt x="0" y="0"/>
                </a:lnTo>
                <a:lnTo>
                  <a:pt x="0" y="17"/>
                </a:lnTo>
                <a:lnTo>
                  <a:pt x="38" y="26"/>
                </a:lnTo>
                <a:lnTo>
                  <a:pt x="38" y="283"/>
                </a:lnTo>
                <a:lnTo>
                  <a:pt x="0" y="292"/>
                </a:lnTo>
                <a:lnTo>
                  <a:pt x="0" y="309"/>
                </a:lnTo>
                <a:lnTo>
                  <a:pt x="139" y="309"/>
                </a:lnTo>
                <a:lnTo>
                  <a:pt x="156" y="309"/>
                </a:lnTo>
                <a:lnTo>
                  <a:pt x="156" y="292"/>
                </a:lnTo>
                <a:lnTo>
                  <a:pt x="139" y="288"/>
                </a:lnTo>
                <a:lnTo>
                  <a:pt x="101" y="283"/>
                </a:lnTo>
                <a:lnTo>
                  <a:pt x="101" y="178"/>
                </a:lnTo>
                <a:lnTo>
                  <a:pt x="127" y="178"/>
                </a:lnTo>
                <a:lnTo>
                  <a:pt x="139" y="178"/>
                </a:lnTo>
                <a:cubicBezTo>
                  <a:pt x="203" y="174"/>
                  <a:pt x="236" y="144"/>
                  <a:pt x="236" y="81"/>
                </a:cubicBezTo>
                <a:cubicBezTo>
                  <a:pt x="236" y="26"/>
                  <a:pt x="198" y="0"/>
                  <a:pt x="148" y="0"/>
                </a:cubicBezTo>
                <a:close/>
                <a:moveTo>
                  <a:pt x="139" y="161"/>
                </a:moveTo>
                <a:lnTo>
                  <a:pt x="139" y="161"/>
                </a:lnTo>
                <a:lnTo>
                  <a:pt x="118" y="161"/>
                </a:lnTo>
                <a:lnTo>
                  <a:pt x="101" y="161"/>
                </a:lnTo>
                <a:lnTo>
                  <a:pt x="101" y="21"/>
                </a:lnTo>
                <a:lnTo>
                  <a:pt x="118" y="21"/>
                </a:lnTo>
                <a:cubicBezTo>
                  <a:pt x="122" y="21"/>
                  <a:pt x="131" y="21"/>
                  <a:pt x="139" y="26"/>
                </a:cubicBezTo>
                <a:cubicBezTo>
                  <a:pt x="156" y="30"/>
                  <a:pt x="173" y="51"/>
                  <a:pt x="173" y="93"/>
                </a:cubicBezTo>
                <a:cubicBezTo>
                  <a:pt x="173" y="123"/>
                  <a:pt x="165" y="152"/>
                  <a:pt x="139" y="161"/>
                </a:cubicBez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8" name="Freeform 10"/>
          <p:cNvSpPr>
            <a:spLocks noEditPoints="1"/>
          </p:cNvSpPr>
          <p:nvPr userDrawn="1"/>
        </p:nvSpPr>
        <p:spPr bwMode="auto">
          <a:xfrm>
            <a:off x="10368549" y="664607"/>
            <a:ext cx="121204" cy="126184"/>
          </a:xfrm>
          <a:custGeom>
            <a:avLst/>
            <a:gdLst/>
            <a:ahLst/>
            <a:cxnLst>
              <a:cxn ang="0">
                <a:pos x="160" y="0"/>
              </a:cxn>
              <a:cxn ang="0">
                <a:pos x="156" y="0"/>
              </a:cxn>
              <a:cxn ang="0">
                <a:pos x="0" y="156"/>
              </a:cxn>
              <a:cxn ang="0">
                <a:pos x="156" y="317"/>
              </a:cxn>
              <a:cxn ang="0">
                <a:pos x="160" y="317"/>
              </a:cxn>
              <a:cxn ang="0">
                <a:pos x="317" y="156"/>
              </a:cxn>
              <a:cxn ang="0">
                <a:pos x="160" y="0"/>
              </a:cxn>
              <a:cxn ang="0">
                <a:pos x="160" y="300"/>
              </a:cxn>
              <a:cxn ang="0">
                <a:pos x="160" y="300"/>
              </a:cxn>
              <a:cxn ang="0">
                <a:pos x="156" y="300"/>
              </a:cxn>
              <a:cxn ang="0">
                <a:pos x="72" y="148"/>
              </a:cxn>
              <a:cxn ang="0">
                <a:pos x="156" y="17"/>
              </a:cxn>
              <a:cxn ang="0">
                <a:pos x="245" y="169"/>
              </a:cxn>
              <a:cxn ang="0">
                <a:pos x="160" y="300"/>
              </a:cxn>
            </a:cxnLst>
            <a:rect l="0" t="0" r="r" b="b"/>
            <a:pathLst>
              <a:path w="317" h="317">
                <a:moveTo>
                  <a:pt x="160" y="0"/>
                </a:moveTo>
                <a:lnTo>
                  <a:pt x="156" y="0"/>
                </a:lnTo>
                <a:cubicBezTo>
                  <a:pt x="55" y="0"/>
                  <a:pt x="0" y="55"/>
                  <a:pt x="0" y="156"/>
                </a:cubicBezTo>
                <a:cubicBezTo>
                  <a:pt x="0" y="262"/>
                  <a:pt x="55" y="317"/>
                  <a:pt x="156" y="317"/>
                </a:cubicBezTo>
                <a:lnTo>
                  <a:pt x="160" y="317"/>
                </a:lnTo>
                <a:cubicBezTo>
                  <a:pt x="258" y="317"/>
                  <a:pt x="317" y="262"/>
                  <a:pt x="317" y="156"/>
                </a:cubicBezTo>
                <a:cubicBezTo>
                  <a:pt x="317" y="55"/>
                  <a:pt x="262" y="0"/>
                  <a:pt x="160" y="0"/>
                </a:cubicBezTo>
                <a:close/>
                <a:moveTo>
                  <a:pt x="160" y="300"/>
                </a:moveTo>
                <a:lnTo>
                  <a:pt x="160" y="300"/>
                </a:lnTo>
                <a:lnTo>
                  <a:pt x="156" y="300"/>
                </a:lnTo>
                <a:cubicBezTo>
                  <a:pt x="110" y="296"/>
                  <a:pt x="72" y="258"/>
                  <a:pt x="72" y="148"/>
                </a:cubicBezTo>
                <a:cubicBezTo>
                  <a:pt x="72" y="55"/>
                  <a:pt x="106" y="21"/>
                  <a:pt x="156" y="17"/>
                </a:cubicBezTo>
                <a:cubicBezTo>
                  <a:pt x="207" y="21"/>
                  <a:pt x="245" y="63"/>
                  <a:pt x="245" y="169"/>
                </a:cubicBezTo>
                <a:cubicBezTo>
                  <a:pt x="245" y="232"/>
                  <a:pt x="220" y="300"/>
                  <a:pt x="160" y="300"/>
                </a:cubicBez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9" name="Freeform 11"/>
          <p:cNvSpPr>
            <a:spLocks/>
          </p:cNvSpPr>
          <p:nvPr userDrawn="1"/>
        </p:nvSpPr>
        <p:spPr bwMode="auto">
          <a:xfrm>
            <a:off x="10517978" y="664607"/>
            <a:ext cx="111241" cy="126184"/>
          </a:xfrm>
          <a:custGeom>
            <a:avLst/>
            <a:gdLst/>
            <a:ahLst/>
            <a:cxnLst>
              <a:cxn ang="0">
                <a:pos x="190" y="296"/>
              </a:cxn>
              <a:cxn ang="0">
                <a:pos x="72" y="156"/>
              </a:cxn>
              <a:cxn ang="0">
                <a:pos x="173" y="21"/>
              </a:cxn>
              <a:cxn ang="0">
                <a:pos x="266" y="101"/>
              </a:cxn>
              <a:cxn ang="0">
                <a:pos x="283" y="101"/>
              </a:cxn>
              <a:cxn ang="0">
                <a:pos x="283" y="17"/>
              </a:cxn>
              <a:cxn ang="0">
                <a:pos x="262" y="17"/>
              </a:cxn>
              <a:cxn ang="0">
                <a:pos x="165" y="0"/>
              </a:cxn>
              <a:cxn ang="0">
                <a:pos x="0" y="152"/>
              </a:cxn>
              <a:cxn ang="0">
                <a:pos x="165" y="317"/>
              </a:cxn>
              <a:cxn ang="0">
                <a:pos x="292" y="287"/>
              </a:cxn>
              <a:cxn ang="0">
                <a:pos x="292" y="241"/>
              </a:cxn>
              <a:cxn ang="0">
                <a:pos x="283" y="241"/>
              </a:cxn>
              <a:cxn ang="0">
                <a:pos x="190" y="296"/>
              </a:cxn>
            </a:cxnLst>
            <a:rect l="0" t="0" r="r" b="b"/>
            <a:pathLst>
              <a:path w="292" h="317">
                <a:moveTo>
                  <a:pt x="190" y="296"/>
                </a:moveTo>
                <a:cubicBezTo>
                  <a:pt x="114" y="296"/>
                  <a:pt x="72" y="224"/>
                  <a:pt x="72" y="156"/>
                </a:cubicBezTo>
                <a:cubicBezTo>
                  <a:pt x="72" y="80"/>
                  <a:pt x="110" y="21"/>
                  <a:pt x="173" y="21"/>
                </a:cubicBezTo>
                <a:cubicBezTo>
                  <a:pt x="224" y="21"/>
                  <a:pt x="258" y="51"/>
                  <a:pt x="266" y="101"/>
                </a:cubicBezTo>
                <a:lnTo>
                  <a:pt x="283" y="101"/>
                </a:lnTo>
                <a:lnTo>
                  <a:pt x="283" y="17"/>
                </a:lnTo>
                <a:lnTo>
                  <a:pt x="262" y="17"/>
                </a:lnTo>
                <a:cubicBezTo>
                  <a:pt x="233" y="8"/>
                  <a:pt x="199" y="0"/>
                  <a:pt x="165" y="0"/>
                </a:cubicBezTo>
                <a:cubicBezTo>
                  <a:pt x="76" y="0"/>
                  <a:pt x="0" y="47"/>
                  <a:pt x="0" y="152"/>
                </a:cubicBezTo>
                <a:cubicBezTo>
                  <a:pt x="0" y="254"/>
                  <a:pt x="68" y="317"/>
                  <a:pt x="165" y="317"/>
                </a:cubicBezTo>
                <a:cubicBezTo>
                  <a:pt x="237" y="317"/>
                  <a:pt x="262" y="300"/>
                  <a:pt x="292" y="287"/>
                </a:cubicBezTo>
                <a:lnTo>
                  <a:pt x="292" y="241"/>
                </a:lnTo>
                <a:lnTo>
                  <a:pt x="283" y="241"/>
                </a:lnTo>
                <a:cubicBezTo>
                  <a:pt x="271" y="279"/>
                  <a:pt x="228" y="296"/>
                  <a:pt x="190" y="296"/>
                </a:cubicBez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" name="Freeform 12"/>
          <p:cNvSpPr>
            <a:spLocks noEditPoints="1"/>
          </p:cNvSpPr>
          <p:nvPr userDrawn="1"/>
        </p:nvSpPr>
        <p:spPr bwMode="auto">
          <a:xfrm>
            <a:off x="10654125" y="666268"/>
            <a:ext cx="96299" cy="122864"/>
          </a:xfrm>
          <a:custGeom>
            <a:avLst/>
            <a:gdLst/>
            <a:ahLst/>
            <a:cxnLst>
              <a:cxn ang="0">
                <a:pos x="174" y="148"/>
              </a:cxn>
              <a:cxn ang="0">
                <a:pos x="174" y="144"/>
              </a:cxn>
              <a:cxn ang="0">
                <a:pos x="241" y="72"/>
              </a:cxn>
              <a:cxn ang="0">
                <a:pos x="140" y="0"/>
              </a:cxn>
              <a:cxn ang="0">
                <a:pos x="0" y="0"/>
              </a:cxn>
              <a:cxn ang="0">
                <a:pos x="0" y="17"/>
              </a:cxn>
              <a:cxn ang="0">
                <a:pos x="38" y="26"/>
              </a:cxn>
              <a:cxn ang="0">
                <a:pos x="38" y="283"/>
              </a:cxn>
              <a:cxn ang="0">
                <a:pos x="0" y="292"/>
              </a:cxn>
              <a:cxn ang="0">
                <a:pos x="0" y="309"/>
              </a:cxn>
              <a:cxn ang="0">
                <a:pos x="140" y="309"/>
              </a:cxn>
              <a:cxn ang="0">
                <a:pos x="148" y="309"/>
              </a:cxn>
              <a:cxn ang="0">
                <a:pos x="254" y="228"/>
              </a:cxn>
              <a:cxn ang="0">
                <a:pos x="174" y="148"/>
              </a:cxn>
              <a:cxn ang="0">
                <a:pos x="102" y="21"/>
              </a:cxn>
              <a:cxn ang="0">
                <a:pos x="102" y="21"/>
              </a:cxn>
              <a:cxn ang="0">
                <a:pos x="140" y="26"/>
              </a:cxn>
              <a:cxn ang="0">
                <a:pos x="174" y="81"/>
              </a:cxn>
              <a:cxn ang="0">
                <a:pos x="140" y="136"/>
              </a:cxn>
              <a:cxn ang="0">
                <a:pos x="127" y="140"/>
              </a:cxn>
              <a:cxn ang="0">
                <a:pos x="102" y="140"/>
              </a:cxn>
              <a:cxn ang="0">
                <a:pos x="102" y="21"/>
              </a:cxn>
              <a:cxn ang="0">
                <a:pos x="140" y="288"/>
              </a:cxn>
              <a:cxn ang="0">
                <a:pos x="140" y="288"/>
              </a:cxn>
              <a:cxn ang="0">
                <a:pos x="102" y="271"/>
              </a:cxn>
              <a:cxn ang="0">
                <a:pos x="102" y="157"/>
              </a:cxn>
              <a:cxn ang="0">
                <a:pos x="127" y="157"/>
              </a:cxn>
              <a:cxn ang="0">
                <a:pos x="140" y="157"/>
              </a:cxn>
              <a:cxn ang="0">
                <a:pos x="190" y="228"/>
              </a:cxn>
              <a:cxn ang="0">
                <a:pos x="140" y="288"/>
              </a:cxn>
            </a:cxnLst>
            <a:rect l="0" t="0" r="r" b="b"/>
            <a:pathLst>
              <a:path w="254" h="309">
                <a:moveTo>
                  <a:pt x="174" y="148"/>
                </a:moveTo>
                <a:lnTo>
                  <a:pt x="174" y="144"/>
                </a:lnTo>
                <a:cubicBezTo>
                  <a:pt x="212" y="136"/>
                  <a:pt x="241" y="110"/>
                  <a:pt x="241" y="72"/>
                </a:cubicBezTo>
                <a:cubicBezTo>
                  <a:pt x="241" y="21"/>
                  <a:pt x="199" y="0"/>
                  <a:pt x="140" y="0"/>
                </a:cubicBezTo>
                <a:lnTo>
                  <a:pt x="0" y="0"/>
                </a:lnTo>
                <a:lnTo>
                  <a:pt x="0" y="17"/>
                </a:lnTo>
                <a:lnTo>
                  <a:pt x="38" y="26"/>
                </a:lnTo>
                <a:lnTo>
                  <a:pt x="38" y="283"/>
                </a:lnTo>
                <a:lnTo>
                  <a:pt x="0" y="292"/>
                </a:lnTo>
                <a:lnTo>
                  <a:pt x="0" y="309"/>
                </a:lnTo>
                <a:lnTo>
                  <a:pt x="140" y="309"/>
                </a:lnTo>
                <a:lnTo>
                  <a:pt x="148" y="309"/>
                </a:lnTo>
                <a:cubicBezTo>
                  <a:pt x="207" y="309"/>
                  <a:pt x="254" y="279"/>
                  <a:pt x="254" y="228"/>
                </a:cubicBezTo>
                <a:cubicBezTo>
                  <a:pt x="254" y="174"/>
                  <a:pt x="224" y="152"/>
                  <a:pt x="174" y="148"/>
                </a:cubicBezTo>
                <a:close/>
                <a:moveTo>
                  <a:pt x="102" y="21"/>
                </a:moveTo>
                <a:lnTo>
                  <a:pt x="102" y="21"/>
                </a:lnTo>
                <a:cubicBezTo>
                  <a:pt x="114" y="21"/>
                  <a:pt x="127" y="21"/>
                  <a:pt x="140" y="26"/>
                </a:cubicBezTo>
                <a:cubicBezTo>
                  <a:pt x="161" y="30"/>
                  <a:pt x="174" y="47"/>
                  <a:pt x="174" y="81"/>
                </a:cubicBezTo>
                <a:cubicBezTo>
                  <a:pt x="174" y="106"/>
                  <a:pt x="165" y="131"/>
                  <a:pt x="140" y="136"/>
                </a:cubicBezTo>
                <a:cubicBezTo>
                  <a:pt x="135" y="136"/>
                  <a:pt x="131" y="140"/>
                  <a:pt x="127" y="140"/>
                </a:cubicBezTo>
                <a:lnTo>
                  <a:pt x="102" y="140"/>
                </a:lnTo>
                <a:lnTo>
                  <a:pt x="102" y="21"/>
                </a:lnTo>
                <a:close/>
                <a:moveTo>
                  <a:pt x="140" y="288"/>
                </a:moveTo>
                <a:lnTo>
                  <a:pt x="140" y="288"/>
                </a:lnTo>
                <a:cubicBezTo>
                  <a:pt x="123" y="288"/>
                  <a:pt x="110" y="279"/>
                  <a:pt x="102" y="271"/>
                </a:cubicBezTo>
                <a:lnTo>
                  <a:pt x="102" y="157"/>
                </a:lnTo>
                <a:lnTo>
                  <a:pt x="127" y="157"/>
                </a:lnTo>
                <a:lnTo>
                  <a:pt x="140" y="157"/>
                </a:lnTo>
                <a:cubicBezTo>
                  <a:pt x="174" y="165"/>
                  <a:pt x="190" y="190"/>
                  <a:pt x="190" y="228"/>
                </a:cubicBezTo>
                <a:cubicBezTo>
                  <a:pt x="190" y="262"/>
                  <a:pt x="174" y="288"/>
                  <a:pt x="140" y="288"/>
                </a:cubicBez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" name="Freeform 13"/>
          <p:cNvSpPr>
            <a:spLocks/>
          </p:cNvSpPr>
          <p:nvPr userDrawn="1"/>
        </p:nvSpPr>
        <p:spPr bwMode="auto">
          <a:xfrm>
            <a:off x="10778649" y="666268"/>
            <a:ext cx="89658" cy="122864"/>
          </a:xfrm>
          <a:custGeom>
            <a:avLst/>
            <a:gdLst/>
            <a:ahLst/>
            <a:cxnLst>
              <a:cxn ang="0">
                <a:pos x="199" y="279"/>
              </a:cxn>
              <a:cxn ang="0">
                <a:pos x="101" y="279"/>
              </a:cxn>
              <a:cxn ang="0">
                <a:pos x="101" y="157"/>
              </a:cxn>
              <a:cxn ang="0">
                <a:pos x="156" y="157"/>
              </a:cxn>
              <a:cxn ang="0">
                <a:pos x="169" y="199"/>
              </a:cxn>
              <a:cxn ang="0">
                <a:pos x="186" y="199"/>
              </a:cxn>
              <a:cxn ang="0">
                <a:pos x="182" y="144"/>
              </a:cxn>
              <a:cxn ang="0">
                <a:pos x="186" y="93"/>
              </a:cxn>
              <a:cxn ang="0">
                <a:pos x="169" y="93"/>
              </a:cxn>
              <a:cxn ang="0">
                <a:pos x="156" y="136"/>
              </a:cxn>
              <a:cxn ang="0">
                <a:pos x="101" y="136"/>
              </a:cxn>
              <a:cxn ang="0">
                <a:pos x="101" y="30"/>
              </a:cxn>
              <a:cxn ang="0">
                <a:pos x="194" y="30"/>
              </a:cxn>
              <a:cxn ang="0">
                <a:pos x="207" y="81"/>
              </a:cxn>
              <a:cxn ang="0">
                <a:pos x="224" y="81"/>
              </a:cxn>
              <a:cxn ang="0">
                <a:pos x="220" y="0"/>
              </a:cxn>
              <a:cxn ang="0">
                <a:pos x="203" y="0"/>
              </a:cxn>
              <a:cxn ang="0">
                <a:pos x="0" y="0"/>
              </a:cxn>
              <a:cxn ang="0">
                <a:pos x="0" y="17"/>
              </a:cxn>
              <a:cxn ang="0">
                <a:pos x="38" y="26"/>
              </a:cxn>
              <a:cxn ang="0">
                <a:pos x="38" y="283"/>
              </a:cxn>
              <a:cxn ang="0">
                <a:pos x="0" y="292"/>
              </a:cxn>
              <a:cxn ang="0">
                <a:pos x="0" y="309"/>
              </a:cxn>
              <a:cxn ang="0">
                <a:pos x="224" y="309"/>
              </a:cxn>
              <a:cxn ang="0">
                <a:pos x="237" y="220"/>
              </a:cxn>
              <a:cxn ang="0">
                <a:pos x="220" y="220"/>
              </a:cxn>
              <a:cxn ang="0">
                <a:pos x="199" y="279"/>
              </a:cxn>
            </a:cxnLst>
            <a:rect l="0" t="0" r="r" b="b"/>
            <a:pathLst>
              <a:path w="237" h="309">
                <a:moveTo>
                  <a:pt x="199" y="279"/>
                </a:moveTo>
                <a:lnTo>
                  <a:pt x="101" y="279"/>
                </a:lnTo>
                <a:lnTo>
                  <a:pt x="101" y="157"/>
                </a:lnTo>
                <a:lnTo>
                  <a:pt x="156" y="157"/>
                </a:lnTo>
                <a:lnTo>
                  <a:pt x="169" y="199"/>
                </a:lnTo>
                <a:lnTo>
                  <a:pt x="186" y="199"/>
                </a:lnTo>
                <a:cubicBezTo>
                  <a:pt x="182" y="182"/>
                  <a:pt x="182" y="165"/>
                  <a:pt x="182" y="144"/>
                </a:cubicBezTo>
                <a:cubicBezTo>
                  <a:pt x="182" y="127"/>
                  <a:pt x="182" y="110"/>
                  <a:pt x="186" y="93"/>
                </a:cubicBezTo>
                <a:lnTo>
                  <a:pt x="169" y="93"/>
                </a:lnTo>
                <a:lnTo>
                  <a:pt x="156" y="136"/>
                </a:lnTo>
                <a:lnTo>
                  <a:pt x="101" y="136"/>
                </a:lnTo>
                <a:lnTo>
                  <a:pt x="101" y="30"/>
                </a:lnTo>
                <a:lnTo>
                  <a:pt x="194" y="30"/>
                </a:lnTo>
                <a:lnTo>
                  <a:pt x="207" y="81"/>
                </a:lnTo>
                <a:lnTo>
                  <a:pt x="224" y="81"/>
                </a:lnTo>
                <a:lnTo>
                  <a:pt x="220" y="0"/>
                </a:lnTo>
                <a:lnTo>
                  <a:pt x="203" y="0"/>
                </a:lnTo>
                <a:lnTo>
                  <a:pt x="0" y="0"/>
                </a:lnTo>
                <a:lnTo>
                  <a:pt x="0" y="17"/>
                </a:lnTo>
                <a:lnTo>
                  <a:pt x="38" y="26"/>
                </a:lnTo>
                <a:lnTo>
                  <a:pt x="38" y="283"/>
                </a:lnTo>
                <a:lnTo>
                  <a:pt x="0" y="292"/>
                </a:lnTo>
                <a:lnTo>
                  <a:pt x="0" y="309"/>
                </a:lnTo>
                <a:lnTo>
                  <a:pt x="224" y="309"/>
                </a:lnTo>
                <a:lnTo>
                  <a:pt x="237" y="220"/>
                </a:lnTo>
                <a:lnTo>
                  <a:pt x="220" y="220"/>
                </a:lnTo>
                <a:lnTo>
                  <a:pt x="199" y="279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2" name="Freeform 14"/>
          <p:cNvSpPr>
            <a:spLocks/>
          </p:cNvSpPr>
          <p:nvPr userDrawn="1"/>
        </p:nvSpPr>
        <p:spPr bwMode="auto">
          <a:xfrm>
            <a:off x="10893211" y="666268"/>
            <a:ext cx="189277" cy="157731"/>
          </a:xfrm>
          <a:custGeom>
            <a:avLst/>
            <a:gdLst/>
            <a:ahLst/>
            <a:cxnLst>
              <a:cxn ang="0">
                <a:pos x="444" y="26"/>
              </a:cxn>
              <a:cxn ang="0">
                <a:pos x="490" y="17"/>
              </a:cxn>
              <a:cxn ang="0">
                <a:pos x="490" y="0"/>
              </a:cxn>
              <a:cxn ang="0">
                <a:pos x="338" y="0"/>
              </a:cxn>
              <a:cxn ang="0">
                <a:pos x="338" y="17"/>
              </a:cxn>
              <a:cxn ang="0">
                <a:pos x="380" y="26"/>
              </a:cxn>
              <a:cxn ang="0">
                <a:pos x="380" y="283"/>
              </a:cxn>
              <a:cxn ang="0">
                <a:pos x="275" y="283"/>
              </a:cxn>
              <a:cxn ang="0">
                <a:pos x="275" y="26"/>
              </a:cxn>
              <a:cxn ang="0">
                <a:pos x="317" y="17"/>
              </a:cxn>
              <a:cxn ang="0">
                <a:pos x="317" y="0"/>
              </a:cxn>
              <a:cxn ang="0">
                <a:pos x="169" y="0"/>
              </a:cxn>
              <a:cxn ang="0">
                <a:pos x="169" y="17"/>
              </a:cxn>
              <a:cxn ang="0">
                <a:pos x="211" y="26"/>
              </a:cxn>
              <a:cxn ang="0">
                <a:pos x="211" y="283"/>
              </a:cxn>
              <a:cxn ang="0">
                <a:pos x="106" y="283"/>
              </a:cxn>
              <a:cxn ang="0">
                <a:pos x="106" y="26"/>
              </a:cxn>
              <a:cxn ang="0">
                <a:pos x="148" y="17"/>
              </a:cxn>
              <a:cxn ang="0">
                <a:pos x="148" y="0"/>
              </a:cxn>
              <a:cxn ang="0">
                <a:pos x="0" y="0"/>
              </a:cxn>
              <a:cxn ang="0">
                <a:pos x="0" y="17"/>
              </a:cxn>
              <a:cxn ang="0">
                <a:pos x="42" y="26"/>
              </a:cxn>
              <a:cxn ang="0">
                <a:pos x="42" y="283"/>
              </a:cxn>
              <a:cxn ang="0">
                <a:pos x="0" y="292"/>
              </a:cxn>
              <a:cxn ang="0">
                <a:pos x="0" y="309"/>
              </a:cxn>
              <a:cxn ang="0">
                <a:pos x="457" y="309"/>
              </a:cxn>
              <a:cxn ang="0">
                <a:pos x="457" y="398"/>
              </a:cxn>
              <a:cxn ang="0">
                <a:pos x="474" y="398"/>
              </a:cxn>
              <a:cxn ang="0">
                <a:pos x="495" y="283"/>
              </a:cxn>
              <a:cxn ang="0">
                <a:pos x="444" y="283"/>
              </a:cxn>
              <a:cxn ang="0">
                <a:pos x="444" y="26"/>
              </a:cxn>
            </a:cxnLst>
            <a:rect l="0" t="0" r="r" b="b"/>
            <a:pathLst>
              <a:path w="495" h="398">
                <a:moveTo>
                  <a:pt x="444" y="26"/>
                </a:moveTo>
                <a:lnTo>
                  <a:pt x="490" y="17"/>
                </a:lnTo>
                <a:lnTo>
                  <a:pt x="490" y="0"/>
                </a:lnTo>
                <a:lnTo>
                  <a:pt x="338" y="0"/>
                </a:lnTo>
                <a:lnTo>
                  <a:pt x="338" y="17"/>
                </a:lnTo>
                <a:lnTo>
                  <a:pt x="380" y="26"/>
                </a:lnTo>
                <a:lnTo>
                  <a:pt x="380" y="283"/>
                </a:lnTo>
                <a:lnTo>
                  <a:pt x="275" y="283"/>
                </a:lnTo>
                <a:lnTo>
                  <a:pt x="275" y="26"/>
                </a:lnTo>
                <a:lnTo>
                  <a:pt x="317" y="17"/>
                </a:lnTo>
                <a:lnTo>
                  <a:pt x="317" y="0"/>
                </a:lnTo>
                <a:lnTo>
                  <a:pt x="169" y="0"/>
                </a:lnTo>
                <a:lnTo>
                  <a:pt x="169" y="17"/>
                </a:lnTo>
                <a:lnTo>
                  <a:pt x="211" y="26"/>
                </a:lnTo>
                <a:lnTo>
                  <a:pt x="211" y="283"/>
                </a:lnTo>
                <a:lnTo>
                  <a:pt x="106" y="283"/>
                </a:lnTo>
                <a:lnTo>
                  <a:pt x="106" y="26"/>
                </a:lnTo>
                <a:lnTo>
                  <a:pt x="148" y="17"/>
                </a:lnTo>
                <a:lnTo>
                  <a:pt x="148" y="0"/>
                </a:lnTo>
                <a:lnTo>
                  <a:pt x="0" y="0"/>
                </a:lnTo>
                <a:lnTo>
                  <a:pt x="0" y="17"/>
                </a:lnTo>
                <a:lnTo>
                  <a:pt x="42" y="26"/>
                </a:lnTo>
                <a:lnTo>
                  <a:pt x="42" y="283"/>
                </a:lnTo>
                <a:lnTo>
                  <a:pt x="0" y="292"/>
                </a:lnTo>
                <a:lnTo>
                  <a:pt x="0" y="309"/>
                </a:lnTo>
                <a:lnTo>
                  <a:pt x="457" y="309"/>
                </a:lnTo>
                <a:lnTo>
                  <a:pt x="457" y="398"/>
                </a:lnTo>
                <a:lnTo>
                  <a:pt x="474" y="398"/>
                </a:lnTo>
                <a:lnTo>
                  <a:pt x="495" y="283"/>
                </a:lnTo>
                <a:lnTo>
                  <a:pt x="444" y="283"/>
                </a:lnTo>
                <a:lnTo>
                  <a:pt x="444" y="26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3" name="Freeform 15"/>
          <p:cNvSpPr>
            <a:spLocks/>
          </p:cNvSpPr>
          <p:nvPr userDrawn="1"/>
        </p:nvSpPr>
        <p:spPr bwMode="auto">
          <a:xfrm>
            <a:off x="11100751" y="666268"/>
            <a:ext cx="91317" cy="122864"/>
          </a:xfrm>
          <a:custGeom>
            <a:avLst/>
            <a:gdLst/>
            <a:ahLst/>
            <a:cxnLst>
              <a:cxn ang="0">
                <a:pos x="237" y="220"/>
              </a:cxn>
              <a:cxn ang="0">
                <a:pos x="224" y="220"/>
              </a:cxn>
              <a:cxn ang="0">
                <a:pos x="199" y="279"/>
              </a:cxn>
              <a:cxn ang="0">
                <a:pos x="102" y="279"/>
              </a:cxn>
              <a:cxn ang="0">
                <a:pos x="102" y="157"/>
              </a:cxn>
              <a:cxn ang="0">
                <a:pos x="157" y="157"/>
              </a:cxn>
              <a:cxn ang="0">
                <a:pos x="170" y="199"/>
              </a:cxn>
              <a:cxn ang="0">
                <a:pos x="186" y="199"/>
              </a:cxn>
              <a:cxn ang="0">
                <a:pos x="182" y="144"/>
              </a:cxn>
              <a:cxn ang="0">
                <a:pos x="186" y="93"/>
              </a:cxn>
              <a:cxn ang="0">
                <a:pos x="174" y="93"/>
              </a:cxn>
              <a:cxn ang="0">
                <a:pos x="157" y="136"/>
              </a:cxn>
              <a:cxn ang="0">
                <a:pos x="102" y="136"/>
              </a:cxn>
              <a:cxn ang="0">
                <a:pos x="102" y="30"/>
              </a:cxn>
              <a:cxn ang="0">
                <a:pos x="195" y="30"/>
              </a:cxn>
              <a:cxn ang="0">
                <a:pos x="208" y="81"/>
              </a:cxn>
              <a:cxn ang="0">
                <a:pos x="224" y="81"/>
              </a:cxn>
              <a:cxn ang="0">
                <a:pos x="220" y="0"/>
              </a:cxn>
              <a:cxn ang="0">
                <a:pos x="0" y="0"/>
              </a:cxn>
              <a:cxn ang="0">
                <a:pos x="0" y="17"/>
              </a:cxn>
              <a:cxn ang="0">
                <a:pos x="38" y="26"/>
              </a:cxn>
              <a:cxn ang="0">
                <a:pos x="38" y="283"/>
              </a:cxn>
              <a:cxn ang="0">
                <a:pos x="0" y="292"/>
              </a:cxn>
              <a:cxn ang="0">
                <a:pos x="0" y="309"/>
              </a:cxn>
              <a:cxn ang="0">
                <a:pos x="229" y="309"/>
              </a:cxn>
              <a:cxn ang="0">
                <a:pos x="237" y="220"/>
              </a:cxn>
            </a:cxnLst>
            <a:rect l="0" t="0" r="r" b="b"/>
            <a:pathLst>
              <a:path w="237" h="309">
                <a:moveTo>
                  <a:pt x="237" y="220"/>
                </a:moveTo>
                <a:lnTo>
                  <a:pt x="224" y="220"/>
                </a:lnTo>
                <a:lnTo>
                  <a:pt x="199" y="279"/>
                </a:lnTo>
                <a:lnTo>
                  <a:pt x="102" y="279"/>
                </a:lnTo>
                <a:lnTo>
                  <a:pt x="102" y="157"/>
                </a:lnTo>
                <a:lnTo>
                  <a:pt x="157" y="157"/>
                </a:lnTo>
                <a:lnTo>
                  <a:pt x="170" y="199"/>
                </a:lnTo>
                <a:lnTo>
                  <a:pt x="186" y="199"/>
                </a:lnTo>
                <a:cubicBezTo>
                  <a:pt x="186" y="182"/>
                  <a:pt x="182" y="165"/>
                  <a:pt x="182" y="144"/>
                </a:cubicBezTo>
                <a:cubicBezTo>
                  <a:pt x="182" y="127"/>
                  <a:pt x="186" y="110"/>
                  <a:pt x="186" y="93"/>
                </a:cubicBezTo>
                <a:lnTo>
                  <a:pt x="174" y="93"/>
                </a:lnTo>
                <a:lnTo>
                  <a:pt x="157" y="136"/>
                </a:lnTo>
                <a:lnTo>
                  <a:pt x="102" y="136"/>
                </a:lnTo>
                <a:lnTo>
                  <a:pt x="102" y="30"/>
                </a:lnTo>
                <a:lnTo>
                  <a:pt x="195" y="30"/>
                </a:lnTo>
                <a:lnTo>
                  <a:pt x="208" y="81"/>
                </a:lnTo>
                <a:lnTo>
                  <a:pt x="224" y="81"/>
                </a:lnTo>
                <a:lnTo>
                  <a:pt x="220" y="0"/>
                </a:lnTo>
                <a:lnTo>
                  <a:pt x="0" y="0"/>
                </a:lnTo>
                <a:lnTo>
                  <a:pt x="0" y="17"/>
                </a:lnTo>
                <a:lnTo>
                  <a:pt x="38" y="26"/>
                </a:lnTo>
                <a:lnTo>
                  <a:pt x="38" y="283"/>
                </a:lnTo>
                <a:lnTo>
                  <a:pt x="0" y="292"/>
                </a:lnTo>
                <a:lnTo>
                  <a:pt x="0" y="309"/>
                </a:lnTo>
                <a:lnTo>
                  <a:pt x="229" y="309"/>
                </a:lnTo>
                <a:lnTo>
                  <a:pt x="237" y="220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4" name="Freeform 16"/>
          <p:cNvSpPr>
            <a:spLocks/>
          </p:cNvSpPr>
          <p:nvPr userDrawn="1"/>
        </p:nvSpPr>
        <p:spPr bwMode="auto">
          <a:xfrm>
            <a:off x="11216974" y="666268"/>
            <a:ext cx="129505" cy="122864"/>
          </a:xfrm>
          <a:custGeom>
            <a:avLst/>
            <a:gdLst/>
            <a:ahLst/>
            <a:cxnLst>
              <a:cxn ang="0">
                <a:pos x="190" y="17"/>
              </a:cxn>
              <a:cxn ang="0">
                <a:pos x="236" y="26"/>
              </a:cxn>
              <a:cxn ang="0">
                <a:pos x="236" y="136"/>
              </a:cxn>
              <a:cxn ang="0">
                <a:pos x="105" y="136"/>
              </a:cxn>
              <a:cxn ang="0">
                <a:pos x="105" y="26"/>
              </a:cxn>
              <a:cxn ang="0">
                <a:pos x="152" y="17"/>
              </a:cxn>
              <a:cxn ang="0">
                <a:pos x="152" y="0"/>
              </a:cxn>
              <a:cxn ang="0">
                <a:pos x="0" y="0"/>
              </a:cxn>
              <a:cxn ang="0">
                <a:pos x="0" y="17"/>
              </a:cxn>
              <a:cxn ang="0">
                <a:pos x="42" y="26"/>
              </a:cxn>
              <a:cxn ang="0">
                <a:pos x="42" y="283"/>
              </a:cxn>
              <a:cxn ang="0">
                <a:pos x="0" y="292"/>
              </a:cxn>
              <a:cxn ang="0">
                <a:pos x="0" y="309"/>
              </a:cxn>
              <a:cxn ang="0">
                <a:pos x="152" y="309"/>
              </a:cxn>
              <a:cxn ang="0">
                <a:pos x="152" y="292"/>
              </a:cxn>
              <a:cxn ang="0">
                <a:pos x="105" y="283"/>
              </a:cxn>
              <a:cxn ang="0">
                <a:pos x="105" y="161"/>
              </a:cxn>
              <a:cxn ang="0">
                <a:pos x="236" y="161"/>
              </a:cxn>
              <a:cxn ang="0">
                <a:pos x="236" y="283"/>
              </a:cxn>
              <a:cxn ang="0">
                <a:pos x="190" y="292"/>
              </a:cxn>
              <a:cxn ang="0">
                <a:pos x="190" y="309"/>
              </a:cxn>
              <a:cxn ang="0">
                <a:pos x="342" y="309"/>
              </a:cxn>
              <a:cxn ang="0">
                <a:pos x="342" y="292"/>
              </a:cxn>
              <a:cxn ang="0">
                <a:pos x="300" y="283"/>
              </a:cxn>
              <a:cxn ang="0">
                <a:pos x="300" y="26"/>
              </a:cxn>
              <a:cxn ang="0">
                <a:pos x="342" y="17"/>
              </a:cxn>
              <a:cxn ang="0">
                <a:pos x="342" y="0"/>
              </a:cxn>
              <a:cxn ang="0">
                <a:pos x="190" y="0"/>
              </a:cxn>
              <a:cxn ang="0">
                <a:pos x="190" y="17"/>
              </a:cxn>
            </a:cxnLst>
            <a:rect l="0" t="0" r="r" b="b"/>
            <a:pathLst>
              <a:path w="342" h="309">
                <a:moveTo>
                  <a:pt x="190" y="17"/>
                </a:moveTo>
                <a:lnTo>
                  <a:pt x="236" y="26"/>
                </a:lnTo>
                <a:lnTo>
                  <a:pt x="236" y="136"/>
                </a:lnTo>
                <a:lnTo>
                  <a:pt x="105" y="136"/>
                </a:lnTo>
                <a:lnTo>
                  <a:pt x="105" y="26"/>
                </a:lnTo>
                <a:lnTo>
                  <a:pt x="152" y="17"/>
                </a:lnTo>
                <a:lnTo>
                  <a:pt x="152" y="0"/>
                </a:lnTo>
                <a:lnTo>
                  <a:pt x="0" y="0"/>
                </a:lnTo>
                <a:lnTo>
                  <a:pt x="0" y="17"/>
                </a:lnTo>
                <a:lnTo>
                  <a:pt x="42" y="26"/>
                </a:lnTo>
                <a:lnTo>
                  <a:pt x="42" y="283"/>
                </a:lnTo>
                <a:lnTo>
                  <a:pt x="0" y="292"/>
                </a:lnTo>
                <a:lnTo>
                  <a:pt x="0" y="309"/>
                </a:lnTo>
                <a:lnTo>
                  <a:pt x="152" y="309"/>
                </a:lnTo>
                <a:lnTo>
                  <a:pt x="152" y="292"/>
                </a:lnTo>
                <a:lnTo>
                  <a:pt x="105" y="283"/>
                </a:lnTo>
                <a:lnTo>
                  <a:pt x="105" y="161"/>
                </a:lnTo>
                <a:lnTo>
                  <a:pt x="236" y="161"/>
                </a:lnTo>
                <a:lnTo>
                  <a:pt x="236" y="283"/>
                </a:lnTo>
                <a:lnTo>
                  <a:pt x="190" y="292"/>
                </a:lnTo>
                <a:lnTo>
                  <a:pt x="190" y="309"/>
                </a:lnTo>
                <a:lnTo>
                  <a:pt x="342" y="309"/>
                </a:lnTo>
                <a:lnTo>
                  <a:pt x="342" y="292"/>
                </a:lnTo>
                <a:lnTo>
                  <a:pt x="300" y="283"/>
                </a:lnTo>
                <a:lnTo>
                  <a:pt x="300" y="26"/>
                </a:lnTo>
                <a:lnTo>
                  <a:pt x="342" y="17"/>
                </a:lnTo>
                <a:lnTo>
                  <a:pt x="342" y="0"/>
                </a:lnTo>
                <a:lnTo>
                  <a:pt x="190" y="0"/>
                </a:lnTo>
                <a:lnTo>
                  <a:pt x="190" y="17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5" name="Freeform 17"/>
          <p:cNvSpPr>
            <a:spLocks/>
          </p:cNvSpPr>
          <p:nvPr userDrawn="1"/>
        </p:nvSpPr>
        <p:spPr bwMode="auto">
          <a:xfrm>
            <a:off x="11368063" y="666268"/>
            <a:ext cx="131166" cy="122864"/>
          </a:xfrm>
          <a:custGeom>
            <a:avLst/>
            <a:gdLst/>
            <a:ahLst/>
            <a:cxnLst>
              <a:cxn ang="0">
                <a:pos x="190" y="17"/>
              </a:cxn>
              <a:cxn ang="0">
                <a:pos x="237" y="26"/>
              </a:cxn>
              <a:cxn ang="0">
                <a:pos x="237" y="30"/>
              </a:cxn>
              <a:cxn ang="0">
                <a:pos x="106" y="237"/>
              </a:cxn>
              <a:cxn ang="0">
                <a:pos x="106" y="26"/>
              </a:cxn>
              <a:cxn ang="0">
                <a:pos x="152" y="17"/>
              </a:cxn>
              <a:cxn ang="0">
                <a:pos x="152" y="0"/>
              </a:cxn>
              <a:cxn ang="0">
                <a:pos x="0" y="0"/>
              </a:cxn>
              <a:cxn ang="0">
                <a:pos x="0" y="17"/>
              </a:cxn>
              <a:cxn ang="0">
                <a:pos x="42" y="26"/>
              </a:cxn>
              <a:cxn ang="0">
                <a:pos x="42" y="283"/>
              </a:cxn>
              <a:cxn ang="0">
                <a:pos x="0" y="292"/>
              </a:cxn>
              <a:cxn ang="0">
                <a:pos x="0" y="309"/>
              </a:cxn>
              <a:cxn ang="0">
                <a:pos x="152" y="309"/>
              </a:cxn>
              <a:cxn ang="0">
                <a:pos x="152" y="292"/>
              </a:cxn>
              <a:cxn ang="0">
                <a:pos x="106" y="283"/>
              </a:cxn>
              <a:cxn ang="0">
                <a:pos x="106" y="279"/>
              </a:cxn>
              <a:cxn ang="0">
                <a:pos x="237" y="72"/>
              </a:cxn>
              <a:cxn ang="0">
                <a:pos x="237" y="283"/>
              </a:cxn>
              <a:cxn ang="0">
                <a:pos x="190" y="292"/>
              </a:cxn>
              <a:cxn ang="0">
                <a:pos x="190" y="309"/>
              </a:cxn>
              <a:cxn ang="0">
                <a:pos x="342" y="309"/>
              </a:cxn>
              <a:cxn ang="0">
                <a:pos x="342" y="292"/>
              </a:cxn>
              <a:cxn ang="0">
                <a:pos x="300" y="283"/>
              </a:cxn>
              <a:cxn ang="0">
                <a:pos x="300" y="26"/>
              </a:cxn>
              <a:cxn ang="0">
                <a:pos x="342" y="17"/>
              </a:cxn>
              <a:cxn ang="0">
                <a:pos x="342" y="0"/>
              </a:cxn>
              <a:cxn ang="0">
                <a:pos x="190" y="0"/>
              </a:cxn>
              <a:cxn ang="0">
                <a:pos x="190" y="17"/>
              </a:cxn>
            </a:cxnLst>
            <a:rect l="0" t="0" r="r" b="b"/>
            <a:pathLst>
              <a:path w="342" h="309">
                <a:moveTo>
                  <a:pt x="190" y="17"/>
                </a:moveTo>
                <a:lnTo>
                  <a:pt x="237" y="26"/>
                </a:lnTo>
                <a:lnTo>
                  <a:pt x="237" y="30"/>
                </a:lnTo>
                <a:lnTo>
                  <a:pt x="106" y="237"/>
                </a:lnTo>
                <a:lnTo>
                  <a:pt x="106" y="26"/>
                </a:lnTo>
                <a:lnTo>
                  <a:pt x="152" y="17"/>
                </a:lnTo>
                <a:lnTo>
                  <a:pt x="152" y="0"/>
                </a:lnTo>
                <a:lnTo>
                  <a:pt x="0" y="0"/>
                </a:lnTo>
                <a:lnTo>
                  <a:pt x="0" y="17"/>
                </a:lnTo>
                <a:lnTo>
                  <a:pt x="42" y="26"/>
                </a:lnTo>
                <a:lnTo>
                  <a:pt x="42" y="283"/>
                </a:lnTo>
                <a:lnTo>
                  <a:pt x="0" y="292"/>
                </a:lnTo>
                <a:lnTo>
                  <a:pt x="0" y="309"/>
                </a:lnTo>
                <a:lnTo>
                  <a:pt x="152" y="309"/>
                </a:lnTo>
                <a:lnTo>
                  <a:pt x="152" y="292"/>
                </a:lnTo>
                <a:lnTo>
                  <a:pt x="106" y="283"/>
                </a:lnTo>
                <a:lnTo>
                  <a:pt x="106" y="279"/>
                </a:lnTo>
                <a:lnTo>
                  <a:pt x="237" y="72"/>
                </a:lnTo>
                <a:lnTo>
                  <a:pt x="237" y="283"/>
                </a:lnTo>
                <a:lnTo>
                  <a:pt x="190" y="292"/>
                </a:lnTo>
                <a:lnTo>
                  <a:pt x="190" y="309"/>
                </a:lnTo>
                <a:lnTo>
                  <a:pt x="342" y="309"/>
                </a:lnTo>
                <a:lnTo>
                  <a:pt x="342" y="292"/>
                </a:lnTo>
                <a:lnTo>
                  <a:pt x="300" y="283"/>
                </a:lnTo>
                <a:lnTo>
                  <a:pt x="300" y="26"/>
                </a:lnTo>
                <a:lnTo>
                  <a:pt x="342" y="17"/>
                </a:lnTo>
                <a:lnTo>
                  <a:pt x="342" y="0"/>
                </a:lnTo>
                <a:lnTo>
                  <a:pt x="190" y="0"/>
                </a:lnTo>
                <a:lnTo>
                  <a:pt x="190" y="17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11519152" y="666268"/>
            <a:ext cx="92978" cy="122864"/>
          </a:xfrm>
          <a:custGeom>
            <a:avLst/>
            <a:gdLst/>
            <a:ahLst/>
            <a:cxnLst>
              <a:cxn ang="0">
                <a:pos x="225" y="220"/>
              </a:cxn>
              <a:cxn ang="0">
                <a:pos x="199" y="279"/>
              </a:cxn>
              <a:cxn ang="0">
                <a:pos x="106" y="279"/>
              </a:cxn>
              <a:cxn ang="0">
                <a:pos x="106" y="157"/>
              </a:cxn>
              <a:cxn ang="0">
                <a:pos x="161" y="157"/>
              </a:cxn>
              <a:cxn ang="0">
                <a:pos x="174" y="199"/>
              </a:cxn>
              <a:cxn ang="0">
                <a:pos x="187" y="199"/>
              </a:cxn>
              <a:cxn ang="0">
                <a:pos x="187" y="144"/>
              </a:cxn>
              <a:cxn ang="0">
                <a:pos x="187" y="93"/>
              </a:cxn>
              <a:cxn ang="0">
                <a:pos x="174" y="93"/>
              </a:cxn>
              <a:cxn ang="0">
                <a:pos x="161" y="136"/>
              </a:cxn>
              <a:cxn ang="0">
                <a:pos x="106" y="136"/>
              </a:cxn>
              <a:cxn ang="0">
                <a:pos x="106" y="30"/>
              </a:cxn>
              <a:cxn ang="0">
                <a:pos x="195" y="30"/>
              </a:cxn>
              <a:cxn ang="0">
                <a:pos x="212" y="81"/>
              </a:cxn>
              <a:cxn ang="0">
                <a:pos x="225" y="81"/>
              </a:cxn>
              <a:cxn ang="0">
                <a:pos x="225" y="0"/>
              </a:cxn>
              <a:cxn ang="0">
                <a:pos x="0" y="0"/>
              </a:cxn>
              <a:cxn ang="0">
                <a:pos x="0" y="17"/>
              </a:cxn>
              <a:cxn ang="0">
                <a:pos x="43" y="26"/>
              </a:cxn>
              <a:cxn ang="0">
                <a:pos x="43" y="283"/>
              </a:cxn>
              <a:cxn ang="0">
                <a:pos x="0" y="292"/>
              </a:cxn>
              <a:cxn ang="0">
                <a:pos x="0" y="309"/>
              </a:cxn>
              <a:cxn ang="0">
                <a:pos x="229" y="309"/>
              </a:cxn>
              <a:cxn ang="0">
                <a:pos x="241" y="220"/>
              </a:cxn>
              <a:cxn ang="0">
                <a:pos x="225" y="220"/>
              </a:cxn>
            </a:cxnLst>
            <a:rect l="0" t="0" r="r" b="b"/>
            <a:pathLst>
              <a:path w="241" h="309">
                <a:moveTo>
                  <a:pt x="225" y="220"/>
                </a:moveTo>
                <a:lnTo>
                  <a:pt x="199" y="279"/>
                </a:lnTo>
                <a:lnTo>
                  <a:pt x="106" y="279"/>
                </a:lnTo>
                <a:lnTo>
                  <a:pt x="106" y="157"/>
                </a:lnTo>
                <a:lnTo>
                  <a:pt x="161" y="157"/>
                </a:lnTo>
                <a:lnTo>
                  <a:pt x="174" y="199"/>
                </a:lnTo>
                <a:lnTo>
                  <a:pt x="187" y="199"/>
                </a:lnTo>
                <a:lnTo>
                  <a:pt x="187" y="144"/>
                </a:lnTo>
                <a:lnTo>
                  <a:pt x="187" y="93"/>
                </a:lnTo>
                <a:lnTo>
                  <a:pt x="174" y="93"/>
                </a:lnTo>
                <a:lnTo>
                  <a:pt x="161" y="136"/>
                </a:lnTo>
                <a:lnTo>
                  <a:pt x="106" y="136"/>
                </a:lnTo>
                <a:lnTo>
                  <a:pt x="106" y="30"/>
                </a:lnTo>
                <a:lnTo>
                  <a:pt x="195" y="30"/>
                </a:lnTo>
                <a:lnTo>
                  <a:pt x="212" y="81"/>
                </a:lnTo>
                <a:lnTo>
                  <a:pt x="225" y="81"/>
                </a:lnTo>
                <a:lnTo>
                  <a:pt x="225" y="0"/>
                </a:lnTo>
                <a:lnTo>
                  <a:pt x="0" y="0"/>
                </a:lnTo>
                <a:lnTo>
                  <a:pt x="0" y="17"/>
                </a:lnTo>
                <a:lnTo>
                  <a:pt x="43" y="26"/>
                </a:lnTo>
                <a:lnTo>
                  <a:pt x="43" y="283"/>
                </a:lnTo>
                <a:lnTo>
                  <a:pt x="0" y="292"/>
                </a:lnTo>
                <a:lnTo>
                  <a:pt x="0" y="309"/>
                </a:lnTo>
                <a:lnTo>
                  <a:pt x="229" y="309"/>
                </a:lnTo>
                <a:lnTo>
                  <a:pt x="241" y="220"/>
                </a:lnTo>
                <a:lnTo>
                  <a:pt x="225" y="220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7" name="Freeform 19"/>
          <p:cNvSpPr>
            <a:spLocks noEditPoints="1"/>
          </p:cNvSpPr>
          <p:nvPr userDrawn="1"/>
        </p:nvSpPr>
        <p:spPr bwMode="auto">
          <a:xfrm>
            <a:off x="10735481" y="300997"/>
            <a:ext cx="240746" cy="303839"/>
          </a:xfrm>
          <a:custGeom>
            <a:avLst/>
            <a:gdLst/>
            <a:ahLst/>
            <a:cxnLst>
              <a:cxn ang="0">
                <a:pos x="317" y="774"/>
              </a:cxn>
              <a:cxn ang="0">
                <a:pos x="587" y="668"/>
              </a:cxn>
              <a:cxn ang="0">
                <a:pos x="630" y="85"/>
              </a:cxn>
              <a:cxn ang="0">
                <a:pos x="317" y="0"/>
              </a:cxn>
              <a:cxn ang="0">
                <a:pos x="160" y="42"/>
              </a:cxn>
              <a:cxn ang="0">
                <a:pos x="0" y="85"/>
              </a:cxn>
              <a:cxn ang="0">
                <a:pos x="42" y="668"/>
              </a:cxn>
              <a:cxn ang="0">
                <a:pos x="160" y="715"/>
              </a:cxn>
              <a:cxn ang="0">
                <a:pos x="317" y="774"/>
              </a:cxn>
              <a:cxn ang="0">
                <a:pos x="160" y="76"/>
              </a:cxn>
              <a:cxn ang="0">
                <a:pos x="160" y="76"/>
              </a:cxn>
              <a:cxn ang="0">
                <a:pos x="224" y="59"/>
              </a:cxn>
              <a:cxn ang="0">
                <a:pos x="160" y="161"/>
              </a:cxn>
              <a:cxn ang="0">
                <a:pos x="105" y="258"/>
              </a:cxn>
              <a:cxn ang="0">
                <a:pos x="105" y="186"/>
              </a:cxn>
              <a:cxn ang="0">
                <a:pos x="101" y="93"/>
              </a:cxn>
              <a:cxn ang="0">
                <a:pos x="160" y="76"/>
              </a:cxn>
              <a:cxn ang="0">
                <a:pos x="76" y="643"/>
              </a:cxn>
              <a:cxn ang="0">
                <a:pos x="76" y="643"/>
              </a:cxn>
              <a:cxn ang="0">
                <a:pos x="55" y="385"/>
              </a:cxn>
              <a:cxn ang="0">
                <a:pos x="114" y="389"/>
              </a:cxn>
              <a:cxn ang="0">
                <a:pos x="160" y="313"/>
              </a:cxn>
              <a:cxn ang="0">
                <a:pos x="228" y="203"/>
              </a:cxn>
              <a:cxn ang="0">
                <a:pos x="224" y="275"/>
              </a:cxn>
              <a:cxn ang="0">
                <a:pos x="228" y="397"/>
              </a:cxn>
              <a:cxn ang="0">
                <a:pos x="317" y="402"/>
              </a:cxn>
              <a:cxn ang="0">
                <a:pos x="317" y="34"/>
              </a:cxn>
              <a:cxn ang="0">
                <a:pos x="596" y="110"/>
              </a:cxn>
              <a:cxn ang="0">
                <a:pos x="575" y="385"/>
              </a:cxn>
              <a:cxn ang="0">
                <a:pos x="494" y="389"/>
              </a:cxn>
              <a:cxn ang="0">
                <a:pos x="507" y="156"/>
              </a:cxn>
              <a:cxn ang="0">
                <a:pos x="410" y="140"/>
              </a:cxn>
              <a:cxn ang="0">
                <a:pos x="406" y="397"/>
              </a:cxn>
              <a:cxn ang="0">
                <a:pos x="317" y="402"/>
              </a:cxn>
              <a:cxn ang="0">
                <a:pos x="317" y="736"/>
              </a:cxn>
              <a:cxn ang="0">
                <a:pos x="160" y="676"/>
              </a:cxn>
              <a:cxn ang="0">
                <a:pos x="76" y="643"/>
              </a:cxn>
            </a:cxnLst>
            <a:rect l="0" t="0" r="r" b="b"/>
            <a:pathLst>
              <a:path w="630" h="774">
                <a:moveTo>
                  <a:pt x="317" y="774"/>
                </a:moveTo>
                <a:lnTo>
                  <a:pt x="587" y="668"/>
                </a:lnTo>
                <a:lnTo>
                  <a:pt x="630" y="85"/>
                </a:lnTo>
                <a:lnTo>
                  <a:pt x="317" y="0"/>
                </a:lnTo>
                <a:lnTo>
                  <a:pt x="160" y="42"/>
                </a:lnTo>
                <a:lnTo>
                  <a:pt x="0" y="85"/>
                </a:lnTo>
                <a:lnTo>
                  <a:pt x="42" y="668"/>
                </a:lnTo>
                <a:lnTo>
                  <a:pt x="160" y="715"/>
                </a:lnTo>
                <a:lnTo>
                  <a:pt x="317" y="774"/>
                </a:lnTo>
                <a:close/>
                <a:moveTo>
                  <a:pt x="160" y="76"/>
                </a:moveTo>
                <a:lnTo>
                  <a:pt x="160" y="76"/>
                </a:lnTo>
                <a:lnTo>
                  <a:pt x="224" y="59"/>
                </a:lnTo>
                <a:lnTo>
                  <a:pt x="160" y="161"/>
                </a:lnTo>
                <a:lnTo>
                  <a:pt x="105" y="258"/>
                </a:lnTo>
                <a:lnTo>
                  <a:pt x="105" y="186"/>
                </a:lnTo>
                <a:lnTo>
                  <a:pt x="101" y="93"/>
                </a:lnTo>
                <a:lnTo>
                  <a:pt x="160" y="76"/>
                </a:lnTo>
                <a:close/>
                <a:moveTo>
                  <a:pt x="76" y="643"/>
                </a:moveTo>
                <a:lnTo>
                  <a:pt x="76" y="643"/>
                </a:lnTo>
                <a:lnTo>
                  <a:pt x="55" y="385"/>
                </a:lnTo>
                <a:lnTo>
                  <a:pt x="114" y="389"/>
                </a:lnTo>
                <a:lnTo>
                  <a:pt x="160" y="313"/>
                </a:lnTo>
                <a:lnTo>
                  <a:pt x="228" y="203"/>
                </a:lnTo>
                <a:lnTo>
                  <a:pt x="224" y="275"/>
                </a:lnTo>
                <a:lnTo>
                  <a:pt x="228" y="397"/>
                </a:lnTo>
                <a:lnTo>
                  <a:pt x="317" y="402"/>
                </a:lnTo>
                <a:lnTo>
                  <a:pt x="317" y="34"/>
                </a:lnTo>
                <a:lnTo>
                  <a:pt x="596" y="110"/>
                </a:lnTo>
                <a:lnTo>
                  <a:pt x="575" y="385"/>
                </a:lnTo>
                <a:lnTo>
                  <a:pt x="494" y="389"/>
                </a:lnTo>
                <a:lnTo>
                  <a:pt x="507" y="156"/>
                </a:lnTo>
                <a:lnTo>
                  <a:pt x="410" y="140"/>
                </a:lnTo>
                <a:lnTo>
                  <a:pt x="406" y="397"/>
                </a:lnTo>
                <a:lnTo>
                  <a:pt x="317" y="402"/>
                </a:lnTo>
                <a:lnTo>
                  <a:pt x="317" y="736"/>
                </a:lnTo>
                <a:lnTo>
                  <a:pt x="160" y="676"/>
                </a:lnTo>
                <a:lnTo>
                  <a:pt x="76" y="643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28" name="Группа 27"/>
          <p:cNvGrpSpPr/>
          <p:nvPr userDrawn="1"/>
        </p:nvGrpSpPr>
        <p:grpSpPr>
          <a:xfrm>
            <a:off x="0" y="548203"/>
            <a:ext cx="9888209" cy="33206"/>
            <a:chOff x="0" y="548203"/>
            <a:chExt cx="9888209" cy="33206"/>
          </a:xfrm>
        </p:grpSpPr>
        <p:grpSp>
          <p:nvGrpSpPr>
            <p:cNvPr id="29" name="Группа 28"/>
            <p:cNvGrpSpPr/>
            <p:nvPr/>
          </p:nvGrpSpPr>
          <p:grpSpPr>
            <a:xfrm>
              <a:off x="5361108" y="548203"/>
              <a:ext cx="4527101" cy="33206"/>
              <a:chOff x="5361108" y="546724"/>
              <a:chExt cx="4527101" cy="33206"/>
            </a:xfrm>
          </p:grpSpPr>
          <p:grpSp>
            <p:nvGrpSpPr>
              <p:cNvPr id="60" name="Группа 59"/>
              <p:cNvGrpSpPr/>
              <p:nvPr/>
            </p:nvGrpSpPr>
            <p:grpSpPr>
              <a:xfrm rot="10800000">
                <a:off x="7610913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68" name="Группа 67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72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73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69" name="Группа 68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70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71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  <p:grpSp>
            <p:nvGrpSpPr>
              <p:cNvPr id="61" name="Группа 60"/>
              <p:cNvGrpSpPr/>
              <p:nvPr/>
            </p:nvGrpSpPr>
            <p:grpSpPr>
              <a:xfrm>
                <a:off x="5361108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62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66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67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63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64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65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</p:grpSp>
        <p:grpSp>
          <p:nvGrpSpPr>
            <p:cNvPr id="30" name="Группа 29"/>
            <p:cNvGrpSpPr/>
            <p:nvPr/>
          </p:nvGrpSpPr>
          <p:grpSpPr>
            <a:xfrm>
              <a:off x="1048040" y="548203"/>
              <a:ext cx="4527101" cy="33206"/>
              <a:chOff x="5361108" y="546724"/>
              <a:chExt cx="4527101" cy="33206"/>
            </a:xfrm>
          </p:grpSpPr>
          <p:grpSp>
            <p:nvGrpSpPr>
              <p:cNvPr id="46" name="Группа 47"/>
              <p:cNvGrpSpPr/>
              <p:nvPr/>
            </p:nvGrpSpPr>
            <p:grpSpPr>
              <a:xfrm rot="10800000">
                <a:off x="7610913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54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58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59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55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56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57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  <p:grpSp>
            <p:nvGrpSpPr>
              <p:cNvPr id="47" name="Группа 48"/>
              <p:cNvGrpSpPr/>
              <p:nvPr/>
            </p:nvGrpSpPr>
            <p:grpSpPr>
              <a:xfrm>
                <a:off x="5361108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48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52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53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49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50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51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</p:grpSp>
        <p:grpSp>
          <p:nvGrpSpPr>
            <p:cNvPr id="31" name="Группа 30"/>
            <p:cNvGrpSpPr/>
            <p:nvPr/>
          </p:nvGrpSpPr>
          <p:grpSpPr>
            <a:xfrm>
              <a:off x="0" y="548203"/>
              <a:ext cx="4527101" cy="33206"/>
              <a:chOff x="5361108" y="546724"/>
              <a:chExt cx="4527101" cy="33206"/>
            </a:xfrm>
          </p:grpSpPr>
          <p:grpSp>
            <p:nvGrpSpPr>
              <p:cNvPr id="32" name="Группа 47"/>
              <p:cNvGrpSpPr/>
              <p:nvPr/>
            </p:nvGrpSpPr>
            <p:grpSpPr>
              <a:xfrm rot="10800000">
                <a:off x="7610913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40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44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45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41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42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43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  <p:grpSp>
            <p:nvGrpSpPr>
              <p:cNvPr id="33" name="Группа 48"/>
              <p:cNvGrpSpPr/>
              <p:nvPr/>
            </p:nvGrpSpPr>
            <p:grpSpPr>
              <a:xfrm>
                <a:off x="5361108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34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38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39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35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36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37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</p:grpSp>
      </p:grpSp>
    </p:spTree>
    <p:extLst>
      <p:ext uri="{BB962C8B-B14F-4D97-AF65-F5344CB8AC3E}">
        <p14:creationId xmlns:p14="http://schemas.microsoft.com/office/powerpoint/2010/main" val="21231080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406316" y="96253"/>
            <a:ext cx="8947484" cy="806115"/>
          </a:xfrm>
        </p:spPr>
        <p:txBody>
          <a:bodyPr/>
          <a:lstStyle>
            <a:lvl1pPr algn="ctr"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1199072"/>
            <a:ext cx="10515600" cy="506770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5049271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6964575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1005840"/>
            <a:ext cx="12192000" cy="1645920"/>
          </a:xfrm>
          <a:prstGeom prst="rect">
            <a:avLst/>
          </a:prstGeom>
          <a:solidFill>
            <a:srgbClr val="EDF1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51026" y="96046"/>
            <a:ext cx="9002774" cy="817646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005840"/>
            <a:ext cx="5181600" cy="517112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005840"/>
            <a:ext cx="5181600" cy="517112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303194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1005840"/>
            <a:ext cx="12192000" cy="1645920"/>
          </a:xfrm>
          <a:prstGeom prst="rect">
            <a:avLst/>
          </a:prstGeom>
          <a:solidFill>
            <a:srgbClr val="EDF1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>
          <a:xfrm flipH="1">
            <a:off x="2639616" y="96045"/>
            <a:ext cx="9552384" cy="817646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00300" y="96046"/>
            <a:ext cx="8955088" cy="81764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005840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1829751"/>
            <a:ext cx="5157787" cy="444722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005840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1829751"/>
            <a:ext cx="5183188" cy="444722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257913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6755131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3D217B-9E3A-4555-BD4D-7DA202460D4B}" type="datetimeFigureOut">
              <a:rPr lang="ru-RU" smtClean="0"/>
              <a:t>24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20648-8C36-4289-AF6A-F6EEAECEA6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36473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 flipH="1">
            <a:off x="2639616" y="96045"/>
            <a:ext cx="9552384" cy="817646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pic>
        <p:nvPicPr>
          <p:cNvPr id="3" name="Рисунок 2" descr="line.jpg"/>
          <p:cNvPicPr>
            <a:picLocks noChangeAspect="1"/>
          </p:cNvPicPr>
          <p:nvPr userDrawn="1"/>
        </p:nvPicPr>
        <p:blipFill rotWithShape="1">
          <a:blip r:embed="rId2" cstate="print"/>
          <a:srcRect l="176" t="10082" b="-3"/>
          <a:stretch/>
        </p:blipFill>
        <p:spPr>
          <a:xfrm rot="10800000">
            <a:off x="-3" y="6790649"/>
            <a:ext cx="12192001" cy="67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493969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846880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7067133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59228799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表格占位符 13"/>
          <p:cNvSpPr>
            <a:spLocks noGrp="1"/>
          </p:cNvSpPr>
          <p:nvPr>
            <p:ph type="tbl" sz="quarter" idx="10"/>
          </p:nvPr>
        </p:nvSpPr>
        <p:spPr>
          <a:xfrm>
            <a:off x="4190986" y="2714626"/>
            <a:ext cx="7429553" cy="2857515"/>
          </a:xfrm>
          <a:prstGeom prst="rect">
            <a:avLst/>
          </a:prstGeom>
        </p:spPr>
        <p:txBody>
          <a:bodyPr/>
          <a:lstStyle/>
          <a:p>
            <a:r>
              <a:rPr lang="ru-RU" altLang="zh-CN"/>
              <a:t>Вставка таблицы</a:t>
            </a:r>
            <a:endParaRPr lang="zh-CN" altLang="en-US"/>
          </a:p>
        </p:txBody>
      </p:sp>
      <p:sp>
        <p:nvSpPr>
          <p:cNvPr id="16" name="图片占位符 15"/>
          <p:cNvSpPr>
            <a:spLocks noGrp="1"/>
          </p:cNvSpPr>
          <p:nvPr>
            <p:ph type="pic" sz="quarter" idx="11"/>
          </p:nvPr>
        </p:nvSpPr>
        <p:spPr>
          <a:xfrm>
            <a:off x="571462" y="428605"/>
            <a:ext cx="3333751" cy="2214563"/>
          </a:xfrm>
          <a:prstGeom prst="rect">
            <a:avLst/>
          </a:prstGeom>
        </p:spPr>
        <p:txBody>
          <a:bodyPr/>
          <a:lstStyle/>
          <a:p>
            <a:r>
              <a:rPr lang="ru-RU" altLang="zh-CN"/>
              <a:t>Вставка рисунка</a:t>
            </a:r>
            <a:endParaRPr lang="zh-CN" altLang="en-US"/>
          </a:p>
        </p:txBody>
      </p:sp>
      <p:sp>
        <p:nvSpPr>
          <p:cNvPr id="18" name="文本占位符 17"/>
          <p:cNvSpPr>
            <a:spLocks noGrp="1"/>
          </p:cNvSpPr>
          <p:nvPr>
            <p:ph type="body" sz="quarter" idx="12"/>
          </p:nvPr>
        </p:nvSpPr>
        <p:spPr>
          <a:xfrm>
            <a:off x="4190986" y="1428736"/>
            <a:ext cx="7429515" cy="1143014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ru-RU" altLang="zh-CN"/>
              <a:t>Образец текста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3"/>
          </p:nvPr>
        </p:nvSpPr>
        <p:spPr>
          <a:xfrm>
            <a:off x="4191000" y="500063"/>
            <a:ext cx="4953000" cy="785812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ru-RU" altLang="zh-CN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740562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表占位符 2"/>
          <p:cNvSpPr>
            <a:spLocks noGrp="1"/>
          </p:cNvSpPr>
          <p:nvPr>
            <p:ph type="chart" sz="quarter" idx="10"/>
          </p:nvPr>
        </p:nvSpPr>
        <p:spPr>
          <a:xfrm>
            <a:off x="2381225" y="714357"/>
            <a:ext cx="7429500" cy="4143375"/>
          </a:xfrm>
          <a:prstGeom prst="rect">
            <a:avLst/>
          </a:prstGeom>
        </p:spPr>
        <p:txBody>
          <a:bodyPr/>
          <a:lstStyle/>
          <a:p>
            <a:r>
              <a:rPr lang="ru-RU" altLang="zh-CN"/>
              <a:t>Вставка диаграммы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11"/>
          </p:nvPr>
        </p:nvSpPr>
        <p:spPr>
          <a:xfrm>
            <a:off x="6000751" y="5000625"/>
            <a:ext cx="3810000" cy="857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altLang="zh-CN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271686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3D217B-9E3A-4555-BD4D-7DA202460D4B}" type="datetimeFigureOut">
              <a:rPr lang="ru-RU" smtClean="0"/>
              <a:t>24.04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20648-8C36-4289-AF6A-F6EEAECEA6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31364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3D217B-9E3A-4555-BD4D-7DA202460D4B}" type="datetimeFigureOut">
              <a:rPr lang="ru-RU" smtClean="0"/>
              <a:t>24.04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20648-8C36-4289-AF6A-F6EEAECEA6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034726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3D217B-9E3A-4555-BD4D-7DA202460D4B}" type="datetimeFigureOut">
              <a:rPr lang="ru-RU" smtClean="0"/>
              <a:t>24.04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20648-8C36-4289-AF6A-F6EEAECEA6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74129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3D217B-9E3A-4555-BD4D-7DA202460D4B}" type="datetimeFigureOut">
              <a:rPr lang="ru-RU" smtClean="0"/>
              <a:t>24.04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20648-8C36-4289-AF6A-F6EEAECEA6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43066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3D217B-9E3A-4555-BD4D-7DA202460D4B}" type="datetimeFigureOut">
              <a:rPr lang="ru-RU" smtClean="0"/>
              <a:t>24.04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20648-8C36-4289-AF6A-F6EEAECEA6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03230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3D217B-9E3A-4555-BD4D-7DA202460D4B}" type="datetimeFigureOut">
              <a:rPr lang="ru-RU" smtClean="0"/>
              <a:t>24.04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20648-8C36-4289-AF6A-F6EEAECEA6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79856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image" Target="../media/image5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3D217B-9E3A-4555-BD4D-7DA202460D4B}" type="datetimeFigureOut">
              <a:rPr lang="ru-RU" smtClean="0"/>
              <a:t>24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B20648-8C36-4289-AF6A-F6EEAECEA6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8570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042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181819"/>
            <a:ext cx="10515600" cy="49951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Номер слайда 5"/>
          <p:cNvSpPr txBox="1">
            <a:spLocks/>
          </p:cNvSpPr>
          <p:nvPr userDrawn="1"/>
        </p:nvSpPr>
        <p:spPr>
          <a:xfrm>
            <a:off x="11019791" y="6200878"/>
            <a:ext cx="682923" cy="345423"/>
          </a:xfrm>
          <a:prstGeom prst="rect">
            <a:avLst/>
          </a:prstGeom>
        </p:spPr>
        <p:txBody>
          <a:bodyPr vert="horz" lIns="78230" tIns="39115" rIns="78230" bIns="39115" rtlCol="0" anchor="ctr"/>
          <a:lstStyle>
            <a:defPPr>
              <a:defRPr lang="ru-RU"/>
            </a:defPPr>
            <a:lvl1pPr marL="0" algn="r" defTabSz="914400" rtl="0" eaLnBrk="1" latinLnBrk="0" hangingPunct="1"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82821BB2-611B-492C-B73E-32A514CCECF5}" type="slidenum">
              <a:rPr lang="ru-RU" sz="1350" b="1" smtClean="0">
                <a:solidFill>
                  <a:prstClr val="black">
                    <a:tint val="75000"/>
                  </a:prstClr>
                </a:solidFill>
              </a:rPr>
              <a:pPr algn="ctr"/>
              <a:t>‹#›</a:t>
            </a:fld>
            <a:endParaRPr lang="ru-RU" sz="1050" b="1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 flipH="1">
            <a:off x="0" y="97974"/>
            <a:ext cx="12192000" cy="8599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 userDrawn="1"/>
        </p:nvSpPr>
        <p:spPr>
          <a:xfrm flipH="1">
            <a:off x="2639616" y="96045"/>
            <a:ext cx="9552384" cy="817646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2068286" y="192428"/>
            <a:ext cx="2050" cy="626298"/>
          </a:xfrm>
          <a:prstGeom prst="line">
            <a:avLst/>
          </a:prstGeom>
          <a:ln>
            <a:solidFill>
              <a:srgbClr val="2947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Группа 44"/>
          <p:cNvGrpSpPr/>
          <p:nvPr userDrawn="1"/>
        </p:nvGrpSpPr>
        <p:grpSpPr>
          <a:xfrm>
            <a:off x="316597" y="256608"/>
            <a:ext cx="1440066" cy="497938"/>
            <a:chOff x="338369" y="163286"/>
            <a:chExt cx="1440066" cy="497938"/>
          </a:xfrm>
        </p:grpSpPr>
        <p:sp>
          <p:nvSpPr>
            <p:cNvPr id="15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30" name="Рисунок 29" descr="line.jpg"/>
          <p:cNvPicPr>
            <a:picLocks noChangeAspect="1"/>
          </p:cNvPicPr>
          <p:nvPr userDrawn="1"/>
        </p:nvPicPr>
        <p:blipFill rotWithShape="1">
          <a:blip r:embed="rId14" cstate="print"/>
          <a:srcRect l="176" t="10082" b="-3"/>
          <a:stretch/>
        </p:blipFill>
        <p:spPr>
          <a:xfrm rot="10800000">
            <a:off x="-1" y="6790649"/>
            <a:ext cx="12192001" cy="67351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51026" y="96046"/>
            <a:ext cx="9002774" cy="8176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42892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ru-RU" sz="2300" b="1" kern="1200" spc="-40" dirty="0">
          <a:solidFill>
            <a:srgbClr val="294790"/>
          </a:solidFill>
          <a:latin typeface="Calibri" pitchFamily="34" charset="0"/>
          <a:ea typeface="+mn-ea"/>
          <a:cs typeface="+mn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onsultant.ru/" TargetMode="Externa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0.png"/><Relationship Id="rId5" Type="http://schemas.openxmlformats.org/officeDocument/2006/relationships/image" Target="../media/image29.jpeg"/><Relationship Id="rId4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openxmlformats.org/officeDocument/2006/relationships/image" Target="../media/image31.jpe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4.jpeg"/><Relationship Id="rId5" Type="http://schemas.openxmlformats.org/officeDocument/2006/relationships/image" Target="../media/image33.png"/><Relationship Id="rId4" Type="http://schemas.openxmlformats.org/officeDocument/2006/relationships/image" Target="../media/image32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9.jpeg"/><Relationship Id="rId4" Type="http://schemas.openxmlformats.org/officeDocument/2006/relationships/image" Target="../media/image3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9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9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9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9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41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2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29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8.jpeg"/><Relationship Id="rId7" Type="http://schemas.openxmlformats.org/officeDocument/2006/relationships/image" Target="../media/image51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29.jpeg"/><Relationship Id="rId9" Type="http://schemas.openxmlformats.org/officeDocument/2006/relationships/image" Target="../media/image5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7" Type="http://schemas.openxmlformats.org/officeDocument/2006/relationships/image" Target="../media/image64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4.png"/><Relationship Id="rId4" Type="http://schemas.openxmlformats.org/officeDocument/2006/relationships/image" Target="../media/image7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consultantplus://offline/ref=E8000FD3E236BB9F7091CD274A32C0A138F315CCD0461E5C10D23EF86EA6D7891B9E2BABF0136A07FED927EB303C32ACFE34CB4B5F1230F" TargetMode="External"/><Relationship Id="rId7" Type="http://schemas.openxmlformats.org/officeDocument/2006/relationships/hyperlink" Target="consultantplus://offline/ref=513CA3F665D74083E78FACE6DBCC69E44A9038E6B0B5CA5A597310FFA5FD10A73152B85231910E93510D3861B43134F" TargetMode="External"/><Relationship Id="rId2" Type="http://schemas.openxmlformats.org/officeDocument/2006/relationships/hyperlink" Target="consultantplus://offline/ref=E8000FD3E236BB9F7091CD274A32C0A138F417C4D1421E5C10D23EF86EA6D789099E73A1F7157F53AB8370E6321339F" TargetMode="External"/><Relationship Id="rId1" Type="http://schemas.openxmlformats.org/officeDocument/2006/relationships/slideLayout" Target="../slideLayouts/slideLayout6.xml"/><Relationship Id="rId6" Type="http://schemas.openxmlformats.org/officeDocument/2006/relationships/hyperlink" Target="consultantplus://offline/ref=E8000FD3E236BB9F7091CD274A32C0A138F612C5D2461E5C10D23EF86EA6D789099E73A1F7157F53AB8370E6321339F" TargetMode="External"/><Relationship Id="rId5" Type="http://schemas.openxmlformats.org/officeDocument/2006/relationships/hyperlink" Target="consultantplus://offline/ref=E8000FD3E236BB9F7091CD274A32C0A13DF317CFD2421E5C10D23EF86EA6D789099E73A1F7157F53AB8370E6321339F" TargetMode="External"/><Relationship Id="rId4" Type="http://schemas.openxmlformats.org/officeDocument/2006/relationships/hyperlink" Target="consultantplus://offline/ref=E8000FD3E236BB9F7091CD274A32C0A138F315CCD0461E5C10D23EF86EA6D7891B9E2BABF1156A07FED927EB303C32ACFE34CB4B5F1230F" TargetMode="Externa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9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13" Type="http://schemas.openxmlformats.org/officeDocument/2006/relationships/image" Target="../media/image86.png"/><Relationship Id="rId3" Type="http://schemas.openxmlformats.org/officeDocument/2006/relationships/image" Target="../media/image77.png"/><Relationship Id="rId7" Type="http://schemas.openxmlformats.org/officeDocument/2006/relationships/image" Target="../media/image81.png"/><Relationship Id="rId12" Type="http://schemas.openxmlformats.org/officeDocument/2006/relationships/image" Target="../media/image3.emf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80.png"/><Relationship Id="rId11" Type="http://schemas.openxmlformats.org/officeDocument/2006/relationships/image" Target="../media/image85.png"/><Relationship Id="rId5" Type="http://schemas.openxmlformats.org/officeDocument/2006/relationships/image" Target="../media/image79.png"/><Relationship Id="rId10" Type="http://schemas.openxmlformats.org/officeDocument/2006/relationships/image" Target="../media/image84.png"/><Relationship Id="rId4" Type="http://schemas.openxmlformats.org/officeDocument/2006/relationships/image" Target="../media/image78.png"/><Relationship Id="rId9" Type="http://schemas.openxmlformats.org/officeDocument/2006/relationships/image" Target="../media/image8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uchitel.club/fgos" TargetMode="External"/><Relationship Id="rId2" Type="http://schemas.openxmlformats.org/officeDocument/2006/relationships/image" Target="../media/image90.gif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.xml"/><Relationship Id="rId7" Type="http://schemas.openxmlformats.org/officeDocument/2006/relationships/image" Target="../media/image7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clck.ru/32YecN" TargetMode="Externa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8905AAB-BBB3-4BB4-8AF4-CF86458BAE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sz="31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ема: </a:t>
            </a:r>
            <a:r>
              <a:rPr lang="ru-RU" sz="3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 обновлённых ФГОС. Федеральные основные образовательные программы, новые требования к ним</a:t>
            </a:r>
            <a:r>
              <a:rPr lang="ru-RU" dirty="0"/>
              <a:t>.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11D5897C-D104-4319-A9B2-E386EBCCA0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964736"/>
              </p:ext>
            </p:extLst>
          </p:nvPr>
        </p:nvGraphicFramePr>
        <p:xfrm>
          <a:off x="2926100" y="1825625"/>
          <a:ext cx="6339799" cy="506569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339799">
                  <a:extLst>
                    <a:ext uri="{9D8B030D-6E8A-4147-A177-3AD203B41FA5}">
                      <a16:colId xmlns:a16="http://schemas.microsoft.com/office/drawing/2014/main" val="2064062319"/>
                    </a:ext>
                  </a:extLst>
                </a:gridCol>
              </a:tblGrid>
              <a:tr h="319095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Приказ </a:t>
                      </a:r>
                      <a:r>
                        <a:rPr lang="ru-RU" sz="2000" dirty="0" err="1">
                          <a:effectLst/>
                        </a:rPr>
                        <a:t>Минпросвещения</a:t>
                      </a:r>
                      <a:r>
                        <a:rPr lang="ru-RU" sz="2000" dirty="0">
                          <a:effectLst/>
                        </a:rPr>
                        <a:t> России от 16.11.2022 N 993</a:t>
                      </a:r>
                      <a:br>
                        <a:rPr lang="ru-RU" sz="2000" dirty="0">
                          <a:effectLst/>
                        </a:rPr>
                      </a:br>
                      <a:r>
                        <a:rPr lang="ru-RU" sz="2000" dirty="0">
                          <a:effectLst/>
                        </a:rPr>
                        <a:t>"Об утверждении федеральной образовательной программы основного общего образования"</a:t>
                      </a:r>
                      <a:br>
                        <a:rPr lang="ru-RU" sz="2000" dirty="0">
                          <a:effectLst/>
                        </a:rPr>
                      </a:br>
                      <a:r>
                        <a:rPr lang="ru-RU" sz="2000" dirty="0">
                          <a:effectLst/>
                        </a:rPr>
                        <a:t>(Зарегистрировано в Минюсте России 22.12.2022 N 71764)</a:t>
                      </a:r>
                      <a:endParaRPr lang="ru-RU" sz="200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627" marR="30627" marT="22970" marB="22970" anchor="ctr"/>
                </a:tc>
                <a:extLst>
                  <a:ext uri="{0D108BD9-81ED-4DB2-BD59-A6C34878D82A}">
                    <a16:rowId xmlns:a16="http://schemas.microsoft.com/office/drawing/2014/main" val="2770752185"/>
                  </a:ext>
                </a:extLst>
              </a:tr>
              <a:tr h="116038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Документ предоставлен </a:t>
                      </a:r>
                      <a:r>
                        <a:rPr lang="ru-RU" sz="2000" u="none" strike="noStrike" dirty="0">
                          <a:effectLst/>
                          <a:hlinkClick r:id="rId2" tooltip="Ссылка на КонсультантПлюс"/>
                        </a:rPr>
                        <a:t>КонсультантПлюс</a:t>
                      </a:r>
                      <a:br>
                        <a:rPr lang="ru-RU" sz="2000" u="none" strike="noStrike" dirty="0">
                          <a:effectLst/>
                          <a:hlinkClick r:id="rId2" tooltip="Ссылка на КонсультантПлюс"/>
                        </a:rPr>
                      </a:br>
                      <a:br>
                        <a:rPr lang="ru-RU" sz="2000" u="none" strike="noStrike" dirty="0">
                          <a:effectLst/>
                          <a:hlinkClick r:id="rId2" tooltip="Ссылка на КонсультантПлюс"/>
                        </a:rPr>
                      </a:br>
                      <a:r>
                        <a:rPr lang="ru-RU" sz="2000" u="none" strike="noStrike" dirty="0">
                          <a:effectLst/>
                          <a:hlinkClick r:id="rId2" tooltip="Ссылка на КонсультантПлюс"/>
                        </a:rPr>
                        <a:t>www.consultant.ru</a:t>
                      </a:r>
                      <a:br>
                        <a:rPr lang="ru-RU" sz="2000" dirty="0">
                          <a:effectLst/>
                        </a:rPr>
                      </a:br>
                      <a:br>
                        <a:rPr lang="ru-RU" sz="2000" dirty="0">
                          <a:effectLst/>
                        </a:rPr>
                      </a:br>
                      <a:r>
                        <a:rPr lang="ru-RU" sz="2000" dirty="0">
                          <a:effectLst/>
                        </a:rPr>
                        <a:t>Дата сохранения: 07.04.2023</a:t>
                      </a:r>
                      <a:br>
                        <a:rPr lang="ru-RU" sz="2000" dirty="0">
                          <a:effectLst/>
                        </a:rPr>
                      </a:br>
                      <a:r>
                        <a:rPr lang="ru-RU" sz="2000" dirty="0">
                          <a:effectLst/>
                        </a:rPr>
                        <a:t> </a:t>
                      </a:r>
                      <a:endParaRPr lang="ru-RU" sz="2000" dirty="0">
                        <a:effectLst/>
                        <a:latin typeface="Tahoma" panose="020B060403050404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627" marR="30627" marT="22970" marB="22970" anchor="ctr"/>
                </a:tc>
                <a:extLst>
                  <a:ext uri="{0D108BD9-81ED-4DB2-BD59-A6C34878D82A}">
                    <a16:rowId xmlns:a16="http://schemas.microsoft.com/office/drawing/2014/main" val="22094179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80716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43" name="Прямоугольник 74">
            <a:extLst>
              <a:ext uri="{FF2B5EF4-FFF2-40B4-BE49-F238E27FC236}">
                <a16:creationId xmlns:a16="http://schemas.microsoft.com/office/drawing/2014/main" id="{19B85301-AE55-3819-FADD-7AE0286F69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5289" y="164004"/>
            <a:ext cx="11102802" cy="10341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ФПУ – 2022. Приказ № 858 от 21.09.2022 </a:t>
            </a:r>
          </a:p>
          <a:p>
            <a:pPr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Приложение № 2</a:t>
            </a:r>
          </a:p>
          <a:p>
            <a:pPr eaLnBrk="1" hangingPunct="1"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Предельные сроки использования учебников зависят от года изучения предмета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987" y="2454088"/>
            <a:ext cx="1444683" cy="20210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7" name="TextBox 12">
            <a:extLst>
              <a:ext uri="{FF2B5EF4-FFF2-40B4-BE49-F238E27FC236}">
                <a16:creationId xmlns:a16="http://schemas.microsoft.com/office/drawing/2014/main" id="{044D14BE-6FCC-742E-D9F9-C917D08E13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4820" y="1457191"/>
            <a:ext cx="8003739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ru-RU" sz="1600" b="1" dirty="0">
                <a:solidFill>
                  <a:srgbClr val="28458D"/>
                </a:solidFill>
                <a:cs typeface="Open Sans Condensed" pitchFamily="2" charset="0"/>
              </a:rPr>
              <a:t>Год изучения предмета </a:t>
            </a:r>
          </a:p>
        </p:txBody>
      </p:sp>
      <p:sp>
        <p:nvSpPr>
          <p:cNvPr id="18" name="TextBox 12">
            <a:extLst>
              <a:ext uri="{FF2B5EF4-FFF2-40B4-BE49-F238E27FC236}">
                <a16:creationId xmlns:a16="http://schemas.microsoft.com/office/drawing/2014/main" id="{044D14BE-6FCC-742E-D9F9-C917D08E13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65158" y="5252643"/>
            <a:ext cx="8003739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ru-RU" sz="1600" b="1" dirty="0">
                <a:solidFill>
                  <a:srgbClr val="28458D"/>
                </a:solidFill>
                <a:cs typeface="Open Sans Condensed" pitchFamily="2" charset="0"/>
              </a:rPr>
              <a:t>Предельный срок использования</a:t>
            </a:r>
          </a:p>
        </p:txBody>
      </p:sp>
      <p:sp>
        <p:nvSpPr>
          <p:cNvPr id="8" name="TextBox 12">
            <a:extLst>
              <a:ext uri="{FF2B5EF4-FFF2-40B4-BE49-F238E27FC236}">
                <a16:creationId xmlns:a16="http://schemas.microsoft.com/office/drawing/2014/main" id="{044D14BE-6FCC-742E-D9F9-C917D08E13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2309712" y="2017301"/>
            <a:ext cx="8394415" cy="43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ru-RU" sz="1100" b="1" dirty="0">
                <a:solidFill>
                  <a:srgbClr val="28458D"/>
                </a:solidFill>
                <a:cs typeface="Open Sans Condensed" pitchFamily="2" charset="0"/>
              </a:rPr>
              <a:t>1 год изучения </a:t>
            </a:r>
          </a:p>
          <a:p>
            <a:pPr algn="ctr" eaLnBrk="1" hangingPunct="1">
              <a:lnSpc>
                <a:spcPct val="90000"/>
              </a:lnSpc>
            </a:pPr>
            <a:r>
              <a:rPr lang="ru-RU" altLang="ru-RU" sz="1100" b="1" dirty="0">
                <a:solidFill>
                  <a:srgbClr val="28458D"/>
                </a:solidFill>
                <a:cs typeface="Open Sans Condensed" pitchFamily="2" charset="0"/>
              </a:rPr>
              <a:t>предмета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985854" y="3941141"/>
            <a:ext cx="1302356" cy="1010501"/>
          </a:xfrm>
          <a:prstGeom prst="roundRect">
            <a:avLst/>
          </a:prstGeom>
          <a:solidFill>
            <a:srgbClr val="28458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До 31 августа 2023 года</a:t>
            </a:r>
          </a:p>
        </p:txBody>
      </p:sp>
      <p:sp>
        <p:nvSpPr>
          <p:cNvPr id="6" name="Стрелка вправо 5"/>
          <p:cNvSpPr/>
          <p:nvPr/>
        </p:nvSpPr>
        <p:spPr>
          <a:xfrm>
            <a:off x="3048724" y="3126697"/>
            <a:ext cx="478972" cy="348343"/>
          </a:xfrm>
          <a:prstGeom prst="rightArrow">
            <a:avLst/>
          </a:prstGeom>
          <a:solidFill>
            <a:srgbClr val="28458D">
              <a:alpha val="6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28458D"/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2594" y="2464538"/>
            <a:ext cx="1448022" cy="20210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Скругленный прямоугольник 11"/>
          <p:cNvSpPr/>
          <p:nvPr/>
        </p:nvSpPr>
        <p:spPr>
          <a:xfrm>
            <a:off x="4602131" y="3951591"/>
            <a:ext cx="1302356" cy="1010501"/>
          </a:xfrm>
          <a:prstGeom prst="roundRect">
            <a:avLst/>
          </a:prstGeom>
          <a:solidFill>
            <a:srgbClr val="28458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До 31 августа 2024 года</a:t>
            </a:r>
          </a:p>
        </p:txBody>
      </p:sp>
      <p:sp>
        <p:nvSpPr>
          <p:cNvPr id="13" name="Стрелка вправо 12"/>
          <p:cNvSpPr/>
          <p:nvPr/>
        </p:nvSpPr>
        <p:spPr>
          <a:xfrm>
            <a:off x="5665001" y="3137147"/>
            <a:ext cx="478972" cy="348343"/>
          </a:xfrm>
          <a:prstGeom prst="rightArrow">
            <a:avLst/>
          </a:prstGeom>
          <a:solidFill>
            <a:srgbClr val="28458D">
              <a:alpha val="6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28458D"/>
              </a:solidFill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8119" y="2480183"/>
            <a:ext cx="1440577" cy="20106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5" name="Скругленный прямоугольник 14"/>
          <p:cNvSpPr/>
          <p:nvPr/>
        </p:nvSpPr>
        <p:spPr>
          <a:xfrm>
            <a:off x="7343933" y="3962041"/>
            <a:ext cx="1302356" cy="1010501"/>
          </a:xfrm>
          <a:prstGeom prst="roundRect">
            <a:avLst/>
          </a:prstGeom>
          <a:solidFill>
            <a:srgbClr val="28458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До 31 августа 2025 года</a:t>
            </a:r>
          </a:p>
        </p:txBody>
      </p:sp>
      <p:sp>
        <p:nvSpPr>
          <p:cNvPr id="16" name="Стрелка вправо 15"/>
          <p:cNvSpPr/>
          <p:nvPr/>
        </p:nvSpPr>
        <p:spPr>
          <a:xfrm>
            <a:off x="8406803" y="3147597"/>
            <a:ext cx="478972" cy="348343"/>
          </a:xfrm>
          <a:prstGeom prst="rightArrow">
            <a:avLst/>
          </a:prstGeom>
          <a:solidFill>
            <a:srgbClr val="28458D">
              <a:alpha val="6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28458D"/>
              </a:solidFill>
            </a:endParaRP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4610" y="2490633"/>
            <a:ext cx="1451198" cy="20106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0" name="Скругленный прямоугольник 19"/>
          <p:cNvSpPr/>
          <p:nvPr/>
        </p:nvSpPr>
        <p:spPr>
          <a:xfrm>
            <a:off x="10085735" y="3972491"/>
            <a:ext cx="1302356" cy="1010501"/>
          </a:xfrm>
          <a:prstGeom prst="roundRect">
            <a:avLst/>
          </a:prstGeom>
          <a:solidFill>
            <a:srgbClr val="28458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До 31 августа 2027 года</a:t>
            </a:r>
          </a:p>
        </p:txBody>
      </p:sp>
      <p:sp>
        <p:nvSpPr>
          <p:cNvPr id="22" name="TextBox 12">
            <a:extLst>
              <a:ext uri="{FF2B5EF4-FFF2-40B4-BE49-F238E27FC236}">
                <a16:creationId xmlns:a16="http://schemas.microsoft.com/office/drawing/2014/main" id="{044D14BE-6FCC-742E-D9F9-C917D08E13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5289" y="2013500"/>
            <a:ext cx="8394415" cy="43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ru-RU" sz="1100" b="1" dirty="0">
                <a:solidFill>
                  <a:srgbClr val="28458D"/>
                </a:solidFill>
                <a:cs typeface="Open Sans Condensed" pitchFamily="2" charset="0"/>
              </a:rPr>
              <a:t>2 год изучения </a:t>
            </a:r>
          </a:p>
          <a:p>
            <a:pPr algn="ctr" eaLnBrk="1" hangingPunct="1">
              <a:lnSpc>
                <a:spcPct val="90000"/>
              </a:lnSpc>
            </a:pPr>
            <a:r>
              <a:rPr lang="ru-RU" altLang="ru-RU" sz="1100" b="1" dirty="0">
                <a:solidFill>
                  <a:srgbClr val="28458D"/>
                </a:solidFill>
                <a:cs typeface="Open Sans Condensed" pitchFamily="2" charset="0"/>
              </a:rPr>
              <a:t>предмета</a:t>
            </a:r>
          </a:p>
        </p:txBody>
      </p:sp>
      <p:sp>
        <p:nvSpPr>
          <p:cNvPr id="23" name="TextBox 12">
            <a:extLst>
              <a:ext uri="{FF2B5EF4-FFF2-40B4-BE49-F238E27FC236}">
                <a16:creationId xmlns:a16="http://schemas.microsoft.com/office/drawing/2014/main" id="{044D14BE-6FCC-742E-D9F9-C917D08E13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48724" y="2045714"/>
            <a:ext cx="8394415" cy="43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ru-RU" sz="1100" b="1" dirty="0">
                <a:solidFill>
                  <a:srgbClr val="28458D"/>
                </a:solidFill>
                <a:cs typeface="Open Sans Condensed" pitchFamily="2" charset="0"/>
              </a:rPr>
              <a:t>3 год изучения </a:t>
            </a:r>
          </a:p>
          <a:p>
            <a:pPr algn="ctr" eaLnBrk="1" hangingPunct="1">
              <a:lnSpc>
                <a:spcPct val="90000"/>
              </a:lnSpc>
            </a:pPr>
            <a:r>
              <a:rPr lang="ru-RU" altLang="ru-RU" sz="1100" b="1" dirty="0">
                <a:solidFill>
                  <a:srgbClr val="28458D"/>
                </a:solidFill>
                <a:cs typeface="Open Sans Condensed" pitchFamily="2" charset="0"/>
              </a:rPr>
              <a:t>предмета</a:t>
            </a:r>
          </a:p>
        </p:txBody>
      </p:sp>
      <p:sp>
        <p:nvSpPr>
          <p:cNvPr id="24" name="TextBox 12">
            <a:extLst>
              <a:ext uri="{FF2B5EF4-FFF2-40B4-BE49-F238E27FC236}">
                <a16:creationId xmlns:a16="http://schemas.microsoft.com/office/drawing/2014/main" id="{044D14BE-6FCC-742E-D9F9-C917D08E13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63001" y="2041584"/>
            <a:ext cx="8394415" cy="43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ru-RU" sz="1100" b="1" dirty="0">
                <a:solidFill>
                  <a:srgbClr val="28458D"/>
                </a:solidFill>
                <a:cs typeface="Open Sans Condensed" pitchFamily="2" charset="0"/>
              </a:rPr>
              <a:t>4-5 год изучения </a:t>
            </a:r>
          </a:p>
          <a:p>
            <a:pPr algn="ctr" eaLnBrk="1" hangingPunct="1">
              <a:lnSpc>
                <a:spcPct val="90000"/>
              </a:lnSpc>
            </a:pPr>
            <a:r>
              <a:rPr lang="ru-RU" altLang="ru-RU" sz="1100" b="1" dirty="0">
                <a:solidFill>
                  <a:srgbClr val="28458D"/>
                </a:solidFill>
                <a:cs typeface="Open Sans Condensed" pitchFamily="2" charset="0"/>
              </a:rPr>
              <a:t>предмета</a:t>
            </a:r>
          </a:p>
        </p:txBody>
      </p:sp>
    </p:spTree>
    <p:extLst>
      <p:ext uri="{BB962C8B-B14F-4D97-AF65-F5344CB8AC3E}">
        <p14:creationId xmlns:p14="http://schemas.microsoft.com/office/powerpoint/2010/main" val="41565656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/>
        </p:nvSpPr>
        <p:spPr>
          <a:xfrm>
            <a:off x="247782" y="853994"/>
            <a:ext cx="10508888" cy="3044676"/>
          </a:xfrm>
          <a:prstGeom prst="roundRect">
            <a:avLst/>
          </a:prstGeom>
          <a:noFill/>
          <a:ln w="12700">
            <a:solidFill>
              <a:srgbClr val="203764"/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/>
            <a:endParaRPr lang="ru-RU" sz="2400" dirty="0">
              <a:solidFill>
                <a:srgbClr val="28458D"/>
              </a:solidFill>
              <a:latin typeface="Calibri" panose="020F0502020204030204" pitchFamily="34" charset="0"/>
              <a:cs typeface="Open Sans Condensed" pitchFamily="2" charset="0"/>
            </a:endParaRPr>
          </a:p>
        </p:txBody>
      </p:sp>
      <p:sp>
        <p:nvSpPr>
          <p:cNvPr id="2" name="TextBox 45">
            <a:extLst>
              <a:ext uri="{FF2B5EF4-FFF2-40B4-BE49-F238E27FC236}">
                <a16:creationId xmlns:a16="http://schemas.microsoft.com/office/drawing/2014/main" id="{C272D871-6F7A-A8B3-5CA9-F48E8FA7F51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7787" y="207477"/>
            <a:ext cx="8671522" cy="406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ru-RU" sz="2400" b="1" dirty="0">
                <a:solidFill>
                  <a:srgbClr val="28458D"/>
                </a:solidFill>
                <a:cs typeface="Open Sans Condensed" pitchFamily="2" charset="0"/>
              </a:rPr>
              <a:t>ФГОС - 2009, ФГОС - 2010. Какие учебники использовать?</a:t>
            </a:r>
            <a:endParaRPr lang="ru-RU" altLang="ru-RU" sz="2400" b="1" dirty="0">
              <a:solidFill>
                <a:srgbClr val="28458D"/>
              </a:solidFill>
              <a:cs typeface="Open Sans Condensed" pitchFamily="2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18318" y="1034503"/>
            <a:ext cx="9906089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Обучение по ООП в соответствии с ФГОС - 2009, ФГОС - 2010 </a:t>
            </a:r>
          </a:p>
          <a:p>
            <a:r>
              <a:rPr lang="ru-RU" i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приказы Министерства образования и науки Российской Федерации </a:t>
            </a:r>
          </a:p>
          <a:p>
            <a:r>
              <a:rPr lang="ru-RU" i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от 6 октября 2009 г. № 373, </a:t>
            </a:r>
          </a:p>
          <a:p>
            <a:r>
              <a:rPr lang="ru-RU" i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от 17 декабря 2010 г. № 1897</a:t>
            </a:r>
          </a:p>
          <a:p>
            <a:endParaRPr lang="ru-RU" i="1" dirty="0">
              <a:solidFill>
                <a:srgbClr val="28458D"/>
              </a:solidFill>
              <a:latin typeface="Calibri" panose="020F0502020204030204" pitchFamily="34" charset="0"/>
              <a:cs typeface="Open Sans Condensed" pitchFamily="2" charset="0"/>
            </a:endParaRPr>
          </a:p>
          <a:p>
            <a:r>
              <a:rPr lang="ru-RU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Для «</a:t>
            </a:r>
            <a:r>
              <a:rPr lang="ru-RU" b="1" dirty="0" err="1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доучивания</a:t>
            </a:r>
            <a:r>
              <a:rPr lang="ru-RU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» использовать учебники </a:t>
            </a:r>
          </a:p>
          <a:p>
            <a:r>
              <a:rPr lang="ru-RU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из приложения 2  (приказ </a:t>
            </a:r>
            <a:r>
              <a:rPr lang="ru-RU" altLang="ru-RU" b="1" dirty="0">
                <a:solidFill>
                  <a:srgbClr val="28458D"/>
                </a:solidFill>
                <a:cs typeface="Open Sans Condensed" pitchFamily="2" charset="0"/>
              </a:rPr>
              <a:t>№ 858 от 21.09.2022 </a:t>
            </a:r>
            <a:r>
              <a:rPr lang="ru-RU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) </a:t>
            </a:r>
          </a:p>
          <a:p>
            <a:r>
              <a:rPr lang="ru-RU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с предельными сроками использования до 31.08.2025 и позднее, т.е. для обеспечения возможности «</a:t>
            </a:r>
            <a:r>
              <a:rPr lang="ru-RU" dirty="0" err="1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доучивания</a:t>
            </a:r>
            <a:r>
              <a:rPr lang="ru-RU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» по предметам в 3-4 и 7-9 классах*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47782" y="4518999"/>
            <a:ext cx="1094518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i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*использовать учебники из Приложения № 1 по предметам, изучение которых начинается 7 классах </a:t>
            </a:r>
          </a:p>
          <a:p>
            <a:r>
              <a:rPr lang="ru-RU" i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 или учебные пособия, переработанные под обновлённые ФГОС </a:t>
            </a:r>
          </a:p>
        </p:txBody>
      </p:sp>
    </p:spTree>
    <p:extLst>
      <p:ext uri="{BB962C8B-B14F-4D97-AF65-F5344CB8AC3E}">
        <p14:creationId xmlns:p14="http://schemas.microsoft.com/office/powerpoint/2010/main" val="41409654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45">
            <a:extLst>
              <a:ext uri="{FF2B5EF4-FFF2-40B4-BE49-F238E27FC236}">
                <a16:creationId xmlns:a16="http://schemas.microsoft.com/office/drawing/2014/main" id="{C272D871-6F7A-A8B3-5CA9-F48E8FA7F51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7397" y="251813"/>
            <a:ext cx="6560988" cy="409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ФГОС – 2021. Какие учебники использовать?</a:t>
            </a:r>
            <a:endParaRPr lang="ru-RU" altLang="ru-RU" sz="2400" b="1" dirty="0">
              <a:solidFill>
                <a:srgbClr val="002060"/>
              </a:solidFill>
              <a:cs typeface="Open Sans Condensed" pitchFamily="2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7397" y="1047900"/>
            <a:ext cx="9274955" cy="1396127"/>
          </a:xfrm>
          <a:prstGeom prst="roundRect">
            <a:avLst/>
          </a:prstGeom>
          <a:noFill/>
          <a:ln w="12700">
            <a:solidFill>
              <a:srgbClr val="203764"/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000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Обучение по ООП в соответствии ФГОС -2021</a:t>
            </a:r>
          </a:p>
          <a:p>
            <a:endParaRPr lang="ru-RU" sz="1100" i="1" dirty="0">
              <a:solidFill>
                <a:srgbClr val="28458D"/>
              </a:solidFill>
              <a:latin typeface="Calibri" panose="020F0502020204030204" pitchFamily="34" charset="0"/>
              <a:cs typeface="Open Sans Condensed" pitchFamily="2" charset="0"/>
            </a:endParaRPr>
          </a:p>
          <a:p>
            <a:r>
              <a:rPr lang="ru-RU" sz="1100" i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приказы Министерства просвещения РФ </a:t>
            </a:r>
          </a:p>
          <a:p>
            <a:r>
              <a:rPr lang="ru-RU" sz="1100" i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от 31 мая 2021 г. № 286 (с внесёнными изменениями)</a:t>
            </a:r>
          </a:p>
          <a:p>
            <a:r>
              <a:rPr lang="ru-RU" sz="1100" i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от 31 мая 2021 г. № 287 (с внесёнными изменениями), </a:t>
            </a:r>
          </a:p>
          <a:p>
            <a:endParaRPr lang="ru-RU" sz="1200" i="1" dirty="0">
              <a:solidFill>
                <a:srgbClr val="28458D"/>
              </a:solidFill>
              <a:latin typeface="Calibri" panose="020F0502020204030204" pitchFamily="34" charset="0"/>
              <a:cs typeface="Open Sans Condensed" pitchFamily="2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055246" y="3877183"/>
            <a:ext cx="3690851" cy="830997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Использовать учебное пособие, переработанное под ФГОС – 2021 </a:t>
            </a:r>
          </a:p>
          <a:p>
            <a:r>
              <a:rPr lang="ru-RU" sz="1600" dirty="0"/>
              <a:t> </a:t>
            </a:r>
            <a:endParaRPr lang="ru-RU" sz="1600" dirty="0">
              <a:solidFill>
                <a:srgbClr val="FF000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686050" y="3890615"/>
            <a:ext cx="336919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tabLst>
                <a:tab pos="85725" algn="l"/>
              </a:tabLst>
            </a:pPr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Переход  на линию УМК  </a:t>
            </a:r>
          </a:p>
          <a:p>
            <a:pPr algn="ctr">
              <a:tabLst>
                <a:tab pos="85725" algn="l"/>
              </a:tabLst>
            </a:pPr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из  приложения 1</a:t>
            </a:r>
          </a:p>
          <a:p>
            <a:pPr algn="ctr">
              <a:tabLst>
                <a:tab pos="85725" algn="l"/>
              </a:tabLst>
            </a:pPr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(приказ </a:t>
            </a:r>
            <a:r>
              <a:rPr lang="ru-RU" altLang="ru-RU" sz="1600" b="1" dirty="0">
                <a:solidFill>
                  <a:srgbClr val="28458D"/>
                </a:solidFill>
                <a:cs typeface="Open Sans Condensed" pitchFamily="2" charset="0"/>
              </a:rPr>
              <a:t>№ 858 от 21.09.2022)</a:t>
            </a:r>
          </a:p>
          <a:p>
            <a:pPr algn="ctr">
              <a:tabLst>
                <a:tab pos="85725" algn="l"/>
              </a:tabLst>
            </a:pPr>
            <a:endParaRPr lang="ru-RU" altLang="ru-RU" sz="1600" b="1" dirty="0">
              <a:solidFill>
                <a:srgbClr val="28458D"/>
              </a:solidFill>
              <a:cs typeface="Open Sans Condensed" pitchFamily="2" charset="0"/>
            </a:endParaRPr>
          </a:p>
        </p:txBody>
      </p:sp>
      <p:grpSp>
        <p:nvGrpSpPr>
          <p:cNvPr id="15" name="Группа 14"/>
          <p:cNvGrpSpPr/>
          <p:nvPr/>
        </p:nvGrpSpPr>
        <p:grpSpPr>
          <a:xfrm>
            <a:off x="4011079" y="3028657"/>
            <a:ext cx="719138" cy="719141"/>
            <a:chOff x="1991097" y="1482380"/>
            <a:chExt cx="719138" cy="719141"/>
          </a:xfrm>
        </p:grpSpPr>
        <p:sp>
          <p:nvSpPr>
            <p:cNvPr id="20" name="Овал 19">
              <a:extLst>
                <a:ext uri="{FF2B5EF4-FFF2-40B4-BE49-F238E27FC236}">
                  <a16:creationId xmlns:a16="http://schemas.microsoft.com/office/drawing/2014/main" id="{C5CB4B66-2E7F-8453-5943-71C270A5F1E6}"/>
                </a:ext>
              </a:extLst>
            </p:cNvPr>
            <p:cNvSpPr>
              <a:spLocks noChangeAspect="1"/>
            </p:cNvSpPr>
            <p:nvPr/>
          </p:nvSpPr>
          <p:spPr bwMode="auto">
            <a:xfrm rot="16200000">
              <a:off x="1991095" y="1482382"/>
              <a:ext cx="719141" cy="719138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3398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KZ"/>
            </a:p>
          </p:txBody>
        </p:sp>
        <p:sp>
          <p:nvSpPr>
            <p:cNvPr id="21" name="Прямоугольник 47">
              <a:extLst>
                <a:ext uri="{FF2B5EF4-FFF2-40B4-BE49-F238E27FC236}">
                  <a16:creationId xmlns:a16="http://schemas.microsoft.com/office/drawing/2014/main" id="{E5D675C9-6FD3-4732-33E9-13F8D9FF68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74452" y="1611764"/>
              <a:ext cx="352425" cy="460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spcBef>
                  <a:spcPts val="600"/>
                </a:spcBef>
                <a:buClr>
                  <a:srgbClr val="2D3494"/>
                </a:buClr>
              </a:pPr>
              <a:r>
                <a:rPr lang="ru-RU" altLang="ru-RU" sz="2400" b="1" dirty="0">
                  <a:solidFill>
                    <a:srgbClr val="28458D"/>
                  </a:solidFill>
                  <a:cs typeface="Open Sans Condensed" pitchFamily="2" charset="0"/>
                </a:rPr>
                <a:t>1</a:t>
              </a: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7477031" y="3028657"/>
            <a:ext cx="719138" cy="719141"/>
            <a:chOff x="5769278" y="1482380"/>
            <a:chExt cx="719138" cy="719141"/>
          </a:xfrm>
        </p:grpSpPr>
        <p:sp>
          <p:nvSpPr>
            <p:cNvPr id="23" name="Овал 22">
              <a:extLst>
                <a:ext uri="{FF2B5EF4-FFF2-40B4-BE49-F238E27FC236}">
                  <a16:creationId xmlns:a16="http://schemas.microsoft.com/office/drawing/2014/main" id="{C5CB4B66-2E7F-8453-5943-71C270A5F1E6}"/>
                </a:ext>
              </a:extLst>
            </p:cNvPr>
            <p:cNvSpPr>
              <a:spLocks noChangeAspect="1"/>
            </p:cNvSpPr>
            <p:nvPr/>
          </p:nvSpPr>
          <p:spPr bwMode="auto">
            <a:xfrm rot="16200000">
              <a:off x="5769276" y="1482382"/>
              <a:ext cx="719141" cy="719138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3398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KZ"/>
            </a:p>
          </p:txBody>
        </p:sp>
        <p:sp>
          <p:nvSpPr>
            <p:cNvPr id="24" name="Прямоугольник 47">
              <a:extLst>
                <a:ext uri="{FF2B5EF4-FFF2-40B4-BE49-F238E27FC236}">
                  <a16:creationId xmlns:a16="http://schemas.microsoft.com/office/drawing/2014/main" id="{E5D675C9-6FD3-4732-33E9-13F8D9FF68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52634" y="1611764"/>
              <a:ext cx="352425" cy="460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spcBef>
                  <a:spcPts val="600"/>
                </a:spcBef>
                <a:buClr>
                  <a:srgbClr val="2D3494"/>
                </a:buClr>
              </a:pPr>
              <a:r>
                <a:rPr lang="ru-RU" altLang="ru-RU" sz="2400" b="1" dirty="0">
                  <a:solidFill>
                    <a:srgbClr val="28458D"/>
                  </a:solidFill>
                  <a:cs typeface="Open Sans Condensed" pitchFamily="2" charset="0"/>
                </a:rPr>
                <a:t>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39337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Picture 4" descr="Изображение Технология. 8-9 классы. Учебник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6502" y="2380985"/>
            <a:ext cx="2767500" cy="360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Изображение Технология. 4 класс. Учебник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1129" y="2690015"/>
            <a:ext cx="2700000" cy="360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45">
            <a:extLst>
              <a:ext uri="{FF2B5EF4-FFF2-40B4-BE49-F238E27FC236}">
                <a16:creationId xmlns:a16="http://schemas.microsoft.com/office/drawing/2014/main" id="{C272D871-6F7A-A8B3-5CA9-F48E8FA7F51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7397" y="251813"/>
            <a:ext cx="6560988" cy="409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ФГОС- 2021. Какие учебники использовать?</a:t>
            </a:r>
            <a:endParaRPr lang="ru-RU" altLang="ru-RU" sz="2400" b="1" dirty="0">
              <a:solidFill>
                <a:srgbClr val="002060"/>
              </a:solidFill>
              <a:cs typeface="Open Sans Condensed" pitchFamily="2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449167" y="1557705"/>
            <a:ext cx="344440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tabLst>
                <a:tab pos="85725" algn="l"/>
              </a:tabLst>
            </a:pPr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Переход  на линию УМК  </a:t>
            </a:r>
          </a:p>
          <a:p>
            <a:pPr algn="ctr">
              <a:tabLst>
                <a:tab pos="85725" algn="l"/>
              </a:tabLst>
            </a:pPr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из  приложения 1</a:t>
            </a:r>
          </a:p>
          <a:p>
            <a:pPr algn="ctr">
              <a:tabLst>
                <a:tab pos="85725" algn="l"/>
              </a:tabLst>
            </a:pPr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(приказ </a:t>
            </a:r>
            <a:r>
              <a:rPr lang="ru-RU" altLang="ru-RU" sz="1600" b="1" dirty="0">
                <a:solidFill>
                  <a:srgbClr val="28458D"/>
                </a:solidFill>
                <a:cs typeface="Open Sans Condensed" pitchFamily="2" charset="0"/>
              </a:rPr>
              <a:t>№ 858 от 21.09.2022)</a:t>
            </a:r>
          </a:p>
          <a:p>
            <a:pPr algn="ctr">
              <a:tabLst>
                <a:tab pos="85725" algn="l"/>
              </a:tabLst>
            </a:pPr>
            <a:endParaRPr lang="ru-RU" altLang="ru-RU" sz="1600" b="1" dirty="0">
              <a:solidFill>
                <a:srgbClr val="28458D"/>
              </a:solidFill>
              <a:cs typeface="Open Sans Condensed" pitchFamily="2" charset="0"/>
            </a:endParaRPr>
          </a:p>
        </p:txBody>
      </p:sp>
      <p:grpSp>
        <p:nvGrpSpPr>
          <p:cNvPr id="15" name="Группа 14"/>
          <p:cNvGrpSpPr/>
          <p:nvPr/>
        </p:nvGrpSpPr>
        <p:grpSpPr>
          <a:xfrm>
            <a:off x="5811800" y="818197"/>
            <a:ext cx="719138" cy="719141"/>
            <a:chOff x="1991097" y="1482380"/>
            <a:chExt cx="719138" cy="719141"/>
          </a:xfrm>
        </p:grpSpPr>
        <p:sp>
          <p:nvSpPr>
            <p:cNvPr id="20" name="Овал 19">
              <a:extLst>
                <a:ext uri="{FF2B5EF4-FFF2-40B4-BE49-F238E27FC236}">
                  <a16:creationId xmlns:a16="http://schemas.microsoft.com/office/drawing/2014/main" id="{C5CB4B66-2E7F-8453-5943-71C270A5F1E6}"/>
                </a:ext>
              </a:extLst>
            </p:cNvPr>
            <p:cNvSpPr>
              <a:spLocks noChangeAspect="1"/>
            </p:cNvSpPr>
            <p:nvPr/>
          </p:nvSpPr>
          <p:spPr bwMode="auto">
            <a:xfrm rot="16200000">
              <a:off x="1991095" y="1482382"/>
              <a:ext cx="719141" cy="719138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3398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KZ"/>
            </a:p>
          </p:txBody>
        </p:sp>
        <p:sp>
          <p:nvSpPr>
            <p:cNvPr id="21" name="Прямоугольник 47">
              <a:extLst>
                <a:ext uri="{FF2B5EF4-FFF2-40B4-BE49-F238E27FC236}">
                  <a16:creationId xmlns:a16="http://schemas.microsoft.com/office/drawing/2014/main" id="{E5D675C9-6FD3-4732-33E9-13F8D9FF68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74452" y="1611764"/>
              <a:ext cx="352425" cy="460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spcBef>
                  <a:spcPts val="600"/>
                </a:spcBef>
                <a:buClr>
                  <a:srgbClr val="2D3494"/>
                </a:buClr>
              </a:pPr>
              <a:r>
                <a:rPr lang="ru-RU" altLang="ru-RU" sz="2400" b="1" dirty="0">
                  <a:solidFill>
                    <a:srgbClr val="28458D"/>
                  </a:solidFill>
                  <a:cs typeface="Open Sans Condensed" pitchFamily="2" charset="0"/>
                </a:rPr>
                <a:t>1</a:t>
              </a: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3881838" y="2516765"/>
            <a:ext cx="4579057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tabLst>
                <a:tab pos="85725" algn="l"/>
              </a:tabLst>
            </a:pPr>
            <a:r>
              <a:rPr lang="ru-RU" sz="20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«Технология» </a:t>
            </a:r>
            <a:r>
              <a:rPr lang="ru-RU" sz="2000" b="1" dirty="0" err="1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Лутцева</a:t>
            </a:r>
            <a:r>
              <a:rPr lang="ru-RU" sz="20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 Е.А., Зуева Т.П. </a:t>
            </a:r>
          </a:p>
          <a:p>
            <a:pPr algn="ctr">
              <a:tabLst>
                <a:tab pos="85725" algn="l"/>
              </a:tabLst>
            </a:pPr>
            <a:r>
              <a:rPr lang="ru-RU" sz="20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1 – 4 классы.</a:t>
            </a:r>
          </a:p>
          <a:p>
            <a:pPr algn="ctr">
              <a:tabLst>
                <a:tab pos="85725" algn="l"/>
              </a:tabLst>
            </a:pPr>
            <a:endParaRPr lang="ru-RU" sz="2000" b="1" dirty="0">
              <a:solidFill>
                <a:srgbClr val="28458D"/>
              </a:solidFill>
              <a:latin typeface="Calibri" panose="020F0502020204030204" pitchFamily="34" charset="0"/>
              <a:cs typeface="Open Sans Condensed" pitchFamily="2" charset="0"/>
            </a:endParaRPr>
          </a:p>
          <a:p>
            <a:pPr algn="ctr">
              <a:tabLst>
                <a:tab pos="85725" algn="l"/>
              </a:tabLst>
            </a:pPr>
            <a:r>
              <a:rPr lang="ru-RU" altLang="ru-RU" sz="20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«Технология» </a:t>
            </a:r>
            <a:r>
              <a:rPr lang="ru-RU" altLang="ru-RU" sz="2000" b="1" dirty="0" err="1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Глозман</a:t>
            </a:r>
            <a:r>
              <a:rPr lang="ru-RU" altLang="ru-RU" sz="20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 Е.С.,           Кожина О.А., </a:t>
            </a:r>
            <a:r>
              <a:rPr lang="ru-RU" altLang="ru-RU" sz="2000" b="1" dirty="0" err="1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Хотунцев</a:t>
            </a:r>
            <a:r>
              <a:rPr lang="ru-RU" altLang="ru-RU" sz="20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 Ю.Л. и другие.                 5 – 9 классы</a:t>
            </a:r>
            <a:r>
              <a:rPr lang="ru-RU" altLang="ru-RU" sz="11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.</a:t>
            </a:r>
            <a:endParaRPr lang="ru-RU" altLang="ru-RU" sz="1100" b="1" dirty="0">
              <a:solidFill>
                <a:srgbClr val="28458D"/>
              </a:solidFill>
              <a:cs typeface="Open Sans Condensed" pitchFamily="2" charset="0"/>
            </a:endParaRPr>
          </a:p>
          <a:p>
            <a:pPr algn="ctr">
              <a:tabLst>
                <a:tab pos="85725" algn="l"/>
              </a:tabLst>
            </a:pPr>
            <a:endParaRPr lang="ru-RU" altLang="ru-RU" sz="1600" b="1" dirty="0">
              <a:solidFill>
                <a:srgbClr val="28458D"/>
              </a:solidFill>
              <a:cs typeface="Open Sans Condensed" pitchFamily="2" charset="0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491009" y="818197"/>
            <a:ext cx="2789009" cy="3743636"/>
            <a:chOff x="855426" y="1407955"/>
            <a:chExt cx="2789009" cy="3743636"/>
          </a:xfrm>
        </p:grpSpPr>
        <p:pic>
          <p:nvPicPr>
            <p:cNvPr id="17" name="Рисунок 1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5426" y="1407955"/>
              <a:ext cx="2789009" cy="3743636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00" t="-51" r="86325" b="87149"/>
            <a:stretch/>
          </p:blipFill>
          <p:spPr>
            <a:xfrm>
              <a:off x="995473" y="1407955"/>
              <a:ext cx="180625" cy="470909"/>
            </a:xfrm>
            <a:prstGeom prst="rect">
              <a:avLst/>
            </a:prstGeom>
          </p:spPr>
        </p:pic>
      </p:grpSp>
      <p:grpSp>
        <p:nvGrpSpPr>
          <p:cNvPr id="5" name="Группа 4"/>
          <p:cNvGrpSpPr/>
          <p:nvPr/>
        </p:nvGrpSpPr>
        <p:grpSpPr>
          <a:xfrm>
            <a:off x="8474682" y="763105"/>
            <a:ext cx="2737091" cy="3743636"/>
            <a:chOff x="8644251" y="1407955"/>
            <a:chExt cx="2737091" cy="3743636"/>
          </a:xfrm>
        </p:grpSpPr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44251" y="1407956"/>
              <a:ext cx="2737091" cy="374363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1" name="Рисунок 10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00" t="-51" r="86325" b="87149"/>
            <a:stretch/>
          </p:blipFill>
          <p:spPr>
            <a:xfrm>
              <a:off x="8748396" y="1407955"/>
              <a:ext cx="201832" cy="5626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746928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2708" y="1879213"/>
            <a:ext cx="2920987" cy="38535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1981" y="2041757"/>
            <a:ext cx="2196453" cy="29062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443" name="Прямоугольник 74">
            <a:extLst>
              <a:ext uri="{FF2B5EF4-FFF2-40B4-BE49-F238E27FC236}">
                <a16:creationId xmlns:a16="http://schemas.microsoft.com/office/drawing/2014/main" id="{19B85301-AE55-3819-FADD-7AE0286F69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0594" y="196070"/>
            <a:ext cx="10737042" cy="406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Обложка учебников и учебных пособий под ФГОС-2021</a:t>
            </a:r>
            <a:endParaRPr lang="ru-RU" altLang="ru-RU" sz="2400" b="1" dirty="0">
              <a:solidFill>
                <a:srgbClr val="FF0000"/>
              </a:solidFill>
              <a:cs typeface="Open Sans Condensed" pitchFamily="2" charset="0"/>
            </a:endParaRPr>
          </a:p>
        </p:txBody>
      </p:sp>
      <p:sp>
        <p:nvSpPr>
          <p:cNvPr id="19" name="Овал 18"/>
          <p:cNvSpPr/>
          <p:nvPr/>
        </p:nvSpPr>
        <p:spPr>
          <a:xfrm>
            <a:off x="1635755" y="1840583"/>
            <a:ext cx="661826" cy="658050"/>
          </a:xfrm>
          <a:prstGeom prst="ellipse">
            <a:avLst/>
          </a:prstGeom>
          <a:ln w="38100">
            <a:solidFill>
              <a:srgbClr val="233C78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Скругленная прямоугольная выноска 6"/>
          <p:cNvSpPr/>
          <p:nvPr/>
        </p:nvSpPr>
        <p:spPr>
          <a:xfrm>
            <a:off x="398308" y="1561519"/>
            <a:ext cx="1042304" cy="2119264"/>
          </a:xfrm>
          <a:prstGeom prst="wedgeRoundRectCallout">
            <a:avLst>
              <a:gd name="adj1" fmla="val 72338"/>
              <a:gd name="adj2" fmla="val -30033"/>
              <a:gd name="adj3" fmla="val 16667"/>
            </a:avLst>
          </a:prstGeom>
          <a:noFill/>
          <a:ln>
            <a:solidFill>
              <a:srgbClr val="233C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7335" y="1695232"/>
            <a:ext cx="665366" cy="1859012"/>
          </a:xfrm>
          <a:prstGeom prst="rect">
            <a:avLst/>
          </a:prstGeom>
          <a:solidFill>
            <a:srgbClr val="C00000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4" name="Скругленный прямоугольник 33">
            <a:extLst>
              <a:ext uri="{FF2B5EF4-FFF2-40B4-BE49-F238E27FC236}">
                <a16:creationId xmlns:a16="http://schemas.microsoft.com/office/drawing/2014/main" id="{CFF3B865-9FE2-CDE1-7FDE-DA97129C2484}"/>
              </a:ext>
            </a:extLst>
          </p:cNvPr>
          <p:cNvSpPr/>
          <p:nvPr/>
        </p:nvSpPr>
        <p:spPr>
          <a:xfrm>
            <a:off x="420594" y="1014474"/>
            <a:ext cx="4083167" cy="416107"/>
          </a:xfrm>
          <a:prstGeom prst="roundRect">
            <a:avLst>
              <a:gd name="adj" fmla="val 50000"/>
            </a:avLst>
          </a:prstGeom>
          <a:solidFill>
            <a:srgbClr val="28458D"/>
          </a:solidFill>
          <a:ln w="19050">
            <a:solidFill>
              <a:srgbClr val="233C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KZ"/>
          </a:p>
        </p:txBody>
      </p:sp>
      <p:sp>
        <p:nvSpPr>
          <p:cNvPr id="35" name="Прямоугольник 22">
            <a:extLst>
              <a:ext uri="{FF2B5EF4-FFF2-40B4-BE49-F238E27FC236}">
                <a16:creationId xmlns:a16="http://schemas.microsoft.com/office/drawing/2014/main" id="{9EABD744-A63C-253F-3159-F2E91F2F95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735" y="1042159"/>
            <a:ext cx="391995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ru-RU" altLang="ru-RU" b="1" dirty="0">
                <a:solidFill>
                  <a:schemeClr val="bg1"/>
                </a:solidFill>
                <a:cs typeface="Open Sans Condensed" pitchFamily="2" charset="0"/>
              </a:rPr>
              <a:t>Первая страница обложки</a:t>
            </a:r>
          </a:p>
        </p:txBody>
      </p:sp>
      <p:sp>
        <p:nvSpPr>
          <p:cNvPr id="36" name="Скругленный прямоугольник 35">
            <a:extLst>
              <a:ext uri="{FF2B5EF4-FFF2-40B4-BE49-F238E27FC236}">
                <a16:creationId xmlns:a16="http://schemas.microsoft.com/office/drawing/2014/main" id="{CFF3B865-9FE2-CDE1-7FDE-DA97129C2484}"/>
              </a:ext>
            </a:extLst>
          </p:cNvPr>
          <p:cNvSpPr/>
          <p:nvPr/>
        </p:nvSpPr>
        <p:spPr>
          <a:xfrm>
            <a:off x="8024884" y="1057915"/>
            <a:ext cx="4147926" cy="416107"/>
          </a:xfrm>
          <a:prstGeom prst="roundRect">
            <a:avLst>
              <a:gd name="adj" fmla="val 50000"/>
            </a:avLst>
          </a:prstGeom>
          <a:solidFill>
            <a:srgbClr val="28458D"/>
          </a:solidFill>
          <a:ln w="19050">
            <a:solidFill>
              <a:srgbClr val="233C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KZ"/>
          </a:p>
        </p:txBody>
      </p:sp>
      <p:sp>
        <p:nvSpPr>
          <p:cNvPr id="37" name="Прямоугольник 22">
            <a:extLst>
              <a:ext uri="{FF2B5EF4-FFF2-40B4-BE49-F238E27FC236}">
                <a16:creationId xmlns:a16="http://schemas.microsoft.com/office/drawing/2014/main" id="{9EABD744-A63C-253F-3159-F2E91F2F95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04892" y="1070639"/>
            <a:ext cx="398710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ru-RU" altLang="ru-RU" b="1" dirty="0">
                <a:solidFill>
                  <a:schemeClr val="bg1"/>
                </a:solidFill>
                <a:cs typeface="Open Sans Condensed" pitchFamily="2" charset="0"/>
              </a:rPr>
              <a:t>Четвертая страница обложки</a:t>
            </a:r>
          </a:p>
        </p:txBody>
      </p:sp>
      <p:sp>
        <p:nvSpPr>
          <p:cNvPr id="38" name="Скругленная прямоугольная выноска 37"/>
          <p:cNvSpPr/>
          <p:nvPr/>
        </p:nvSpPr>
        <p:spPr>
          <a:xfrm>
            <a:off x="7215427" y="1558319"/>
            <a:ext cx="1143007" cy="1907194"/>
          </a:xfrm>
          <a:prstGeom prst="wedgeRoundRectCallout">
            <a:avLst>
              <a:gd name="adj1" fmla="val 80534"/>
              <a:gd name="adj2" fmla="val -32047"/>
              <a:gd name="adj3" fmla="val 16667"/>
            </a:avLst>
          </a:prstGeom>
          <a:noFill/>
          <a:ln>
            <a:solidFill>
              <a:srgbClr val="233C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Овал 38"/>
          <p:cNvSpPr/>
          <p:nvPr/>
        </p:nvSpPr>
        <p:spPr>
          <a:xfrm>
            <a:off x="8667852" y="1760895"/>
            <a:ext cx="606998" cy="596283"/>
          </a:xfrm>
          <a:prstGeom prst="ellipse">
            <a:avLst/>
          </a:prstGeom>
          <a:ln w="38100">
            <a:solidFill>
              <a:srgbClr val="233C78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0" name="Рисунок 39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EFC"/>
              </a:clrFrom>
              <a:clrTo>
                <a:srgbClr val="FFFE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2738" y="2002778"/>
            <a:ext cx="1025696" cy="674408"/>
          </a:xfrm>
          <a:prstGeom prst="rect">
            <a:avLst/>
          </a:prstGeom>
        </p:spPr>
      </p:pic>
      <p:sp>
        <p:nvSpPr>
          <p:cNvPr id="2" name="Скругленный прямоугольник 1"/>
          <p:cNvSpPr/>
          <p:nvPr/>
        </p:nvSpPr>
        <p:spPr>
          <a:xfrm>
            <a:off x="198110" y="4861188"/>
            <a:ext cx="7692883" cy="1932444"/>
          </a:xfrm>
          <a:prstGeom prst="roundRect">
            <a:avLst>
              <a:gd name="adj" fmla="val 17336"/>
            </a:avLst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ru-RU" sz="1400" b="1" dirty="0">
                <a:solidFill>
                  <a:srgbClr val="28458D"/>
                </a:solidFill>
                <a:cs typeface="Open Sans Light" pitchFamily="2" charset="0"/>
              </a:rPr>
              <a:t>Новый знак ФГОС </a:t>
            </a:r>
            <a:r>
              <a:rPr lang="ru-RU" sz="1400" dirty="0"/>
              <a:t>размещается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: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ru-RU" sz="1400" b="1" dirty="0">
                <a:solidFill>
                  <a:srgbClr val="28458D"/>
                </a:solidFill>
                <a:cs typeface="Open Sans Light" pitchFamily="2" charset="0"/>
              </a:rPr>
              <a:t>на всех учебниках  1 – 9 классов, </a:t>
            </a:r>
            <a:r>
              <a:rPr lang="ru-RU" sz="1400" dirty="0"/>
              <a:t>соответствующих обновлённым ФГОС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ru-RU" sz="1400" b="1" dirty="0">
                <a:solidFill>
                  <a:srgbClr val="28458D"/>
                </a:solidFill>
                <a:cs typeface="Open Sans Light" pitchFamily="2" charset="0"/>
              </a:rPr>
              <a:t>на всех учебных пособиях к переработанным учебникам для 1 - 9 классов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ru-RU" sz="1400" b="1" dirty="0">
                <a:solidFill>
                  <a:srgbClr val="28458D"/>
                </a:solidFill>
                <a:cs typeface="Open Sans Light" pitchFamily="2" charset="0"/>
              </a:rPr>
              <a:t>на серийных пособиях под тематику ФГОС* </a:t>
            </a:r>
            <a:br>
              <a:rPr lang="ru-RU" sz="1400" b="1" dirty="0">
                <a:solidFill>
                  <a:srgbClr val="003399"/>
                </a:solidFill>
              </a:rPr>
            </a:br>
            <a:r>
              <a:rPr lang="ru-RU" sz="1400" dirty="0"/>
              <a:t>(т.е. для которых размещение знака применимо по их содержанию)</a:t>
            </a:r>
          </a:p>
          <a:p>
            <a:pPr marL="285750" indent="-285750">
              <a:buFontTx/>
              <a:buChar char="-"/>
            </a:pPr>
            <a:endParaRPr lang="ru-RU" sz="600" dirty="0"/>
          </a:p>
          <a:p>
            <a:r>
              <a:rPr lang="ru-RU" sz="1400" i="1" dirty="0"/>
              <a:t>*Например, все пособия по внеурочной деятельности, функциональной грамотности и др. </a:t>
            </a:r>
          </a:p>
        </p:txBody>
      </p:sp>
      <p:sp>
        <p:nvSpPr>
          <p:cNvPr id="21" name="Скругленный прямоугольник 20">
            <a:extLst>
              <a:ext uri="{FF2B5EF4-FFF2-40B4-BE49-F238E27FC236}">
                <a16:creationId xmlns:a16="http://schemas.microsoft.com/office/drawing/2014/main" id="{CFF3B865-9FE2-CDE1-7FDE-DA97129C2484}"/>
              </a:ext>
            </a:extLst>
          </p:cNvPr>
          <p:cNvSpPr/>
          <p:nvPr/>
        </p:nvSpPr>
        <p:spPr>
          <a:xfrm>
            <a:off x="4697418" y="1031007"/>
            <a:ext cx="3193575" cy="388422"/>
          </a:xfrm>
          <a:prstGeom prst="roundRect">
            <a:avLst>
              <a:gd name="adj" fmla="val 50000"/>
            </a:avLst>
          </a:prstGeom>
          <a:solidFill>
            <a:srgbClr val="28458D"/>
          </a:solidFill>
          <a:ln w="19050">
            <a:solidFill>
              <a:srgbClr val="233C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KZ"/>
          </a:p>
        </p:txBody>
      </p:sp>
      <p:sp>
        <p:nvSpPr>
          <p:cNvPr id="22" name="Прямоугольник 22">
            <a:extLst>
              <a:ext uri="{FF2B5EF4-FFF2-40B4-BE49-F238E27FC236}">
                <a16:creationId xmlns:a16="http://schemas.microsoft.com/office/drawing/2014/main" id="{9EABD744-A63C-253F-3159-F2E91F2F95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15313" y="1037144"/>
            <a:ext cx="55337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b="1" dirty="0">
                <a:solidFill>
                  <a:schemeClr val="bg1"/>
                </a:solidFill>
                <a:cs typeface="Open Sans Condensed" pitchFamily="2" charset="0"/>
              </a:rPr>
              <a:t>Корешок обложки </a:t>
            </a:r>
          </a:p>
        </p:txBody>
      </p:sp>
      <p:sp>
        <p:nvSpPr>
          <p:cNvPr id="20" name="Скругленная прямоугольная выноска 19"/>
          <p:cNvSpPr/>
          <p:nvPr/>
        </p:nvSpPr>
        <p:spPr>
          <a:xfrm>
            <a:off x="5113314" y="1558319"/>
            <a:ext cx="1042304" cy="1907194"/>
          </a:xfrm>
          <a:prstGeom prst="wedgeRoundRectCallout">
            <a:avLst>
              <a:gd name="adj1" fmla="val 72338"/>
              <a:gd name="adj2" fmla="val -30033"/>
              <a:gd name="adj3" fmla="val 16667"/>
            </a:avLst>
          </a:prstGeom>
          <a:noFill/>
          <a:ln>
            <a:solidFill>
              <a:srgbClr val="233C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7"/>
          <a:srcRect r="91977" b="86851"/>
          <a:stretch/>
        </p:blipFill>
        <p:spPr>
          <a:xfrm>
            <a:off x="5381726" y="1713790"/>
            <a:ext cx="523774" cy="1029684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1052" b="50543"/>
          <a:stretch/>
        </p:blipFill>
        <p:spPr>
          <a:xfrm>
            <a:off x="6424031" y="1695233"/>
            <a:ext cx="88598" cy="32527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088339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>
            <a:extLst>
              <a:ext uri="{FF2B5EF4-FFF2-40B4-BE49-F238E27FC236}">
                <a16:creationId xmlns:a16="http://schemas.microsoft.com/office/drawing/2014/main" id="{20D776D5-02D0-342B-83AE-AE5309E5E0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3699" y="163998"/>
            <a:ext cx="11105311" cy="720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ФПУ. Приложение 1. УМК «Технология» Глозман Е.С., Кожина О.А., Хотунцев Ю.Л. и другие 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759" y="1012313"/>
            <a:ext cx="2105660" cy="288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2076" y="1012313"/>
            <a:ext cx="2141863" cy="288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F68916EE-7F83-C5E6-695A-6D66B175E636}"/>
              </a:ext>
            </a:extLst>
          </p:cNvPr>
          <p:cNvSpPr/>
          <p:nvPr/>
        </p:nvSpPr>
        <p:spPr>
          <a:xfrm>
            <a:off x="279400" y="4331606"/>
            <a:ext cx="5872018" cy="1299812"/>
          </a:xfrm>
          <a:prstGeom prst="roundRect">
            <a:avLst>
              <a:gd name="adj" fmla="val 17475"/>
            </a:avLst>
          </a:prstGeom>
          <a:noFill/>
          <a:ln w="19050">
            <a:solidFill>
              <a:srgbClr val="2845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KZ"/>
          </a:p>
        </p:txBody>
      </p:sp>
      <p:graphicFrame>
        <p:nvGraphicFramePr>
          <p:cNvPr id="13" name="Таблица 12">
            <a:extLst>
              <a:ext uri="{FF2B5EF4-FFF2-40B4-BE49-F238E27FC236}">
                <a16:creationId xmlns:a16="http://schemas.microsoft.com/office/drawing/2014/main" id="{CBC2115C-60D3-D725-5762-034FD788669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77752" y="4534453"/>
          <a:ext cx="5557535" cy="9234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3854">
                  <a:extLst>
                    <a:ext uri="{9D8B030D-6E8A-4147-A177-3AD203B41FA5}">
                      <a16:colId xmlns:a16="http://schemas.microsoft.com/office/drawing/2014/main" val="3512454950"/>
                    </a:ext>
                  </a:extLst>
                </a:gridCol>
                <a:gridCol w="14947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58296">
                  <a:extLst>
                    <a:ext uri="{9D8B030D-6E8A-4147-A177-3AD203B41FA5}">
                      <a16:colId xmlns:a16="http://schemas.microsoft.com/office/drawing/2014/main" val="3038806580"/>
                    </a:ext>
                  </a:extLst>
                </a:gridCol>
                <a:gridCol w="9243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762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9423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Номер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Наименование учебника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Классы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Номер</a:t>
                      </a:r>
                      <a:r>
                        <a:rPr lang="ru-RU" sz="1000" b="1" i="0" u="none" strike="noStrike" baseline="0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 издания</a:t>
                      </a:r>
                      <a:endParaRPr lang="ru-RU" sz="1000" b="1" i="0" u="none" strike="noStrike" dirty="0">
                        <a:solidFill>
                          <a:srgbClr val="28458D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Авторы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988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1.1.2.8.1.1.1.</a:t>
                      </a:r>
                      <a:r>
                        <a:rPr lang="ru-RU" sz="1000" b="0" i="0" u="none" strike="noStrike" baseline="0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 -</a:t>
                      </a:r>
                      <a:endParaRPr lang="ru-RU" sz="1000" b="0" i="0" u="none" strike="noStrike" dirty="0">
                        <a:solidFill>
                          <a:srgbClr val="28458D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1.1.2.8.1.1.4.</a:t>
                      </a:r>
                    </a:p>
                  </a:txBody>
                  <a:tcPr marL="0" marR="0" marT="36012" marB="3601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Технология</a:t>
                      </a:r>
                    </a:p>
                  </a:txBody>
                  <a:tcPr marL="0" marR="0" marT="36012" marB="3601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5,6,7,8,9</a:t>
                      </a:r>
                    </a:p>
                  </a:txBody>
                  <a:tcPr marL="0" marR="0" marT="36012" marB="3601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kern="1200" baseline="0" dirty="0">
                          <a:solidFill>
                            <a:srgbClr val="28458D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-е издание, переработанное</a:t>
                      </a:r>
                    </a:p>
                  </a:txBody>
                  <a:tcPr marL="0" marR="0" marT="36012" marB="3601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Глозман Е.С., Кожина</a:t>
                      </a:r>
                      <a:r>
                        <a:rPr lang="ru-RU" sz="1000" b="0" i="0" u="none" strike="noStrike" baseline="0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 О.А., Хотунцев Ю.Л. и другие</a:t>
                      </a:r>
                      <a:endParaRPr lang="ru-RU" sz="1000" b="0" i="0" u="none" strike="noStrike" dirty="0">
                        <a:solidFill>
                          <a:srgbClr val="28458D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6012" marB="3601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00" t="-51" r="86325" b="87149"/>
          <a:stretch/>
        </p:blipFill>
        <p:spPr>
          <a:xfrm>
            <a:off x="739640" y="1012313"/>
            <a:ext cx="159687" cy="41632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00" t="-51" r="86325" b="87149"/>
          <a:stretch/>
        </p:blipFill>
        <p:spPr>
          <a:xfrm>
            <a:off x="3434338" y="1012313"/>
            <a:ext cx="159687" cy="416320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6234298" y="748801"/>
            <a:ext cx="5586399" cy="58939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/>
              <a:t>Учебники переработаны в соответствии с требованиями ФГОС и ПООП ООО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/>
              <a:t>Все инвариантные и вариативные модули входят в содержание различных параграфов учебника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/>
              <a:t>Инвариантный модуль «Компьютерная графика. Черчение»  представлен практически во всех параграфах учебников и дан отдельными параграфами в 5-7 классах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/>
              <a:t>Вариативный модуль «Автоматизированные системы» раскрыт в  5-9 классах в главе «Электротехнические работы». 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/>
              <a:t>Вариативные модули «Животноводство» и «Растениеводство»  представлены отдельным параграфом в 6 классе и  широко раскрыты в 5-9 классах в разделах  по обработке текстильных материалов и пищевых продуктов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/>
              <a:t>Учебники приведены в соответствие с требованиями </a:t>
            </a:r>
            <a:r>
              <a:rPr lang="ru-RU" dirty="0" err="1"/>
              <a:t>СанПин</a:t>
            </a:r>
            <a:r>
              <a:rPr lang="ru-RU" dirty="0"/>
              <a:t>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98515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>
            <a:extLst>
              <a:ext uri="{FF2B5EF4-FFF2-40B4-BE49-F238E27FC236}">
                <a16:creationId xmlns:a16="http://schemas.microsoft.com/office/drawing/2014/main" id="{20D776D5-02D0-342B-83AE-AE5309E5E0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1571" y="267061"/>
            <a:ext cx="10701338" cy="409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УМК «Технология» Глозман Е.С., Кожина О.А., Хотунцев Ю.Л. и другие 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821" y="1296129"/>
            <a:ext cx="2105660" cy="288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00" t="-51" r="86325" b="87149"/>
          <a:stretch/>
        </p:blipFill>
        <p:spPr>
          <a:xfrm>
            <a:off x="1029702" y="1296129"/>
            <a:ext cx="159687" cy="416320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3876315" y="1178332"/>
            <a:ext cx="7980218" cy="49090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Добавлена глава «Технологии обработки бумаги и картона».</a:t>
            </a:r>
          </a:p>
          <a:p>
            <a:pPr>
              <a:spcAft>
                <a:spcPts val="600"/>
              </a:spcAft>
            </a:pPr>
            <a:endParaRPr lang="ru-RU" sz="800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В главу «Технологии обработки пищевых продуктов» добавлен новый                              § 25 «Физиология питания».</a:t>
            </a:r>
          </a:p>
          <a:p>
            <a:pPr>
              <a:spcAft>
                <a:spcPts val="600"/>
              </a:spcAft>
            </a:pPr>
            <a:endParaRPr lang="ru-RU" sz="800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Глава «Технологии художественно-прикладной обработки материалов»  сокращена. Нет § 32 «Значение цвета в изделиях декоративно-прикладного творчества. Композиция. Орнамент». Нет § 36 «Узелковый батик. Технологии отделки изделий в технике узелкового батика».</a:t>
            </a:r>
          </a:p>
          <a:p>
            <a:pPr>
              <a:spcAft>
                <a:spcPts val="600"/>
              </a:spcAft>
            </a:pPr>
            <a:endParaRPr lang="ru-RU" sz="800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Глава «Электротехнические работы. Робототехника» существенно обновлена и переработана.</a:t>
            </a:r>
          </a:p>
          <a:p>
            <a:pPr>
              <a:spcAft>
                <a:spcPts val="600"/>
              </a:spcAft>
            </a:pPr>
            <a:endParaRPr lang="ru-RU" sz="800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Сокращены некоторые практические работы, технологические карты, приложения, словарь понятий и терминов, словарь профессий</a:t>
            </a:r>
            <a:r>
              <a:rPr lang="ru-RU" sz="1600" i="1" dirty="0"/>
              <a:t>.</a:t>
            </a:r>
          </a:p>
          <a:p>
            <a:pPr>
              <a:spcAft>
                <a:spcPts val="600"/>
              </a:spcAft>
            </a:pPr>
            <a:endParaRPr lang="ru-RU" sz="800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Чертежи исправлены и доработаны по современным стандартам.</a:t>
            </a:r>
          </a:p>
          <a:p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3876315" y="742542"/>
            <a:ext cx="43876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rgbClr val="28458D"/>
                </a:solidFill>
              </a:rPr>
              <a:t>5 класс. Ключевые изменения в учебнике</a:t>
            </a:r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F68916EE-7F83-C5E6-695A-6D66B175E636}"/>
              </a:ext>
            </a:extLst>
          </p:cNvPr>
          <p:cNvSpPr/>
          <p:nvPr/>
        </p:nvSpPr>
        <p:spPr>
          <a:xfrm>
            <a:off x="457200" y="4604393"/>
            <a:ext cx="3058737" cy="759484"/>
          </a:xfrm>
          <a:prstGeom prst="roundRect">
            <a:avLst>
              <a:gd name="adj" fmla="val 17475"/>
            </a:avLst>
          </a:prstGeom>
          <a:noFill/>
          <a:ln w="19050">
            <a:solidFill>
              <a:srgbClr val="2845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KZ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CBC2115C-60D3-D725-5762-034FD78866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4632948"/>
              </p:ext>
            </p:extLst>
          </p:nvPr>
        </p:nvGraphicFramePr>
        <p:xfrm>
          <a:off x="527051" y="4579722"/>
          <a:ext cx="2905440" cy="6774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2338">
                  <a:extLst>
                    <a:ext uri="{9D8B030D-6E8A-4147-A177-3AD203B41FA5}">
                      <a16:colId xmlns:a16="http://schemas.microsoft.com/office/drawing/2014/main" val="3512454950"/>
                    </a:ext>
                  </a:extLst>
                </a:gridCol>
                <a:gridCol w="6261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2762">
                  <a:extLst>
                    <a:ext uri="{9D8B030D-6E8A-4147-A177-3AD203B41FA5}">
                      <a16:colId xmlns:a16="http://schemas.microsoft.com/office/drawing/2014/main" val="3038806580"/>
                    </a:ext>
                  </a:extLst>
                </a:gridCol>
                <a:gridCol w="48326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808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8541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Номер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Наименование учебника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Классы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Номер</a:t>
                      </a:r>
                      <a:r>
                        <a:rPr lang="ru-RU" sz="700" b="1" i="0" u="none" strike="noStrike" baseline="0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 издания</a:t>
                      </a:r>
                      <a:endParaRPr lang="ru-RU" sz="700" b="1" i="0" u="none" strike="noStrike" dirty="0">
                        <a:solidFill>
                          <a:srgbClr val="28458D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Авторы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603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1.1.2.8.1.1.1.</a:t>
                      </a:r>
                    </a:p>
                  </a:txBody>
                  <a:tcPr marL="0" marR="0" marT="36012" marB="3601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Технология</a:t>
                      </a:r>
                    </a:p>
                  </a:txBody>
                  <a:tcPr marL="0" marR="0" marT="36012" marB="3601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0" marR="0" marT="36012" marB="3601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0" i="0" u="none" strike="noStrike" kern="1200" baseline="0" dirty="0">
                          <a:solidFill>
                            <a:srgbClr val="28458D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-е издание, переработанное</a:t>
                      </a:r>
                    </a:p>
                  </a:txBody>
                  <a:tcPr marL="0" marR="0" marT="36012" marB="3601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Глозман Е.С., Кожина</a:t>
                      </a:r>
                      <a:r>
                        <a:rPr lang="ru-RU" sz="700" b="0" i="0" u="none" strike="noStrike" baseline="0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 О.А., Хотунцев Ю.Л. и другие</a:t>
                      </a:r>
                      <a:endParaRPr lang="ru-RU" sz="700" b="0" i="0" u="none" strike="noStrike" dirty="0">
                        <a:solidFill>
                          <a:srgbClr val="28458D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6012" marB="3601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581168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>
            <a:extLst>
              <a:ext uri="{FF2B5EF4-FFF2-40B4-BE49-F238E27FC236}">
                <a16:creationId xmlns:a16="http://schemas.microsoft.com/office/drawing/2014/main" id="{20D776D5-02D0-342B-83AE-AE5309E5E0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275" y="67424"/>
            <a:ext cx="10701338" cy="409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УМК «Технология» Глозман Е.С., Кожина О.А., Хотунцев Ю.Л. и другие 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00" y="977877"/>
            <a:ext cx="2292638" cy="30568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00" t="-51" r="86325" b="87149"/>
          <a:stretch/>
        </p:blipFill>
        <p:spPr>
          <a:xfrm>
            <a:off x="896560" y="978912"/>
            <a:ext cx="173465" cy="441325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3411162" y="855861"/>
            <a:ext cx="8456988" cy="60631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В главе «Технологии обработки древесных материалов» объединены и частично сокращены  § 12 и § 13 «Изготовление изделий с шиповыми соединениями».</a:t>
            </a:r>
          </a:p>
          <a:p>
            <a:pPr>
              <a:spcAft>
                <a:spcPts val="400"/>
              </a:spcAft>
            </a:pPr>
            <a:endParaRPr lang="ru-RU" sz="800" dirty="0"/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Сокращена глава  «Технологии получения и преобразования текстильных материалов»: нет § 23 «История швейной машины»; объединены и частично сокращены  § 24 «Регуляторы швейной машины» и § 25 «Уход за швейной машиной»; нет § 26 «Основные этапы изготовления одежды на швейном производстве» </a:t>
            </a:r>
            <a:r>
              <a:rPr lang="ru-RU" sz="1600" i="1" dirty="0"/>
              <a:t>(перенесён в 8-9 </a:t>
            </a:r>
            <a:r>
              <a:rPr lang="ru-RU" sz="1600" i="1" dirty="0" err="1"/>
              <a:t>кл</a:t>
            </a:r>
            <a:r>
              <a:rPr lang="ru-RU" sz="1600" i="1" dirty="0"/>
              <a:t>.).</a:t>
            </a:r>
          </a:p>
          <a:p>
            <a:pPr>
              <a:spcAft>
                <a:spcPts val="400"/>
              </a:spcAft>
            </a:pPr>
            <a:endParaRPr lang="ru-RU" sz="800" i="1" dirty="0"/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В главу «Технологии обработки пищевых продуктов» добавлен § 44 «Особенности приготовления пищи в походных условиях».</a:t>
            </a:r>
          </a:p>
          <a:p>
            <a:pPr>
              <a:spcAft>
                <a:spcPts val="400"/>
              </a:spcAft>
            </a:pPr>
            <a:endParaRPr lang="ru-RU" sz="800" dirty="0"/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В главе «Технологии художественно-прикладной обработки материалов» сокращён         § 46 «Роспись тканей».</a:t>
            </a:r>
          </a:p>
          <a:p>
            <a:pPr>
              <a:spcAft>
                <a:spcPts val="400"/>
              </a:spcAft>
            </a:pPr>
            <a:endParaRPr lang="ru-RU" sz="800" dirty="0"/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Добавлена глава «Мир профессий».</a:t>
            </a:r>
          </a:p>
          <a:p>
            <a:pPr>
              <a:spcAft>
                <a:spcPts val="400"/>
              </a:spcAft>
            </a:pPr>
            <a:endParaRPr lang="ru-RU" sz="800" dirty="0"/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Глава «Элементы тепловой энергетики, электротехники. Робототехника» существенно обновлена и переработана. </a:t>
            </a:r>
          </a:p>
          <a:p>
            <a:pPr>
              <a:spcAft>
                <a:spcPts val="400"/>
              </a:spcAft>
            </a:pPr>
            <a:endParaRPr lang="ru-RU" sz="800" dirty="0"/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Сокращены некоторые практические работы, технологические карты, приложения, словарь понятий и терминов, словарь профессий</a:t>
            </a:r>
            <a:r>
              <a:rPr lang="ru-RU" sz="1600" i="1" dirty="0"/>
              <a:t>.</a:t>
            </a:r>
          </a:p>
          <a:p>
            <a:pPr>
              <a:spcAft>
                <a:spcPts val="400"/>
              </a:spcAft>
            </a:pPr>
            <a:endParaRPr lang="ru-RU" sz="800" dirty="0"/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Чертежи исправлены и доработаны по современным стандартам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3906462" y="458540"/>
            <a:ext cx="43876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rgbClr val="28458D"/>
                </a:solidFill>
              </a:rPr>
              <a:t>6 класс. Ключевые изменения в учебнике</a:t>
            </a:r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F68916EE-7F83-C5E6-695A-6D66B175E636}"/>
              </a:ext>
            </a:extLst>
          </p:cNvPr>
          <p:cNvSpPr/>
          <p:nvPr/>
        </p:nvSpPr>
        <p:spPr>
          <a:xfrm>
            <a:off x="422275" y="4560827"/>
            <a:ext cx="2988887" cy="759484"/>
          </a:xfrm>
          <a:prstGeom prst="roundRect">
            <a:avLst>
              <a:gd name="adj" fmla="val 17475"/>
            </a:avLst>
          </a:prstGeom>
          <a:noFill/>
          <a:ln w="19050">
            <a:solidFill>
              <a:srgbClr val="2845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KZ"/>
          </a:p>
        </p:txBody>
      </p:sp>
      <p:graphicFrame>
        <p:nvGraphicFramePr>
          <p:cNvPr id="15" name="Таблица 14">
            <a:extLst>
              <a:ext uri="{FF2B5EF4-FFF2-40B4-BE49-F238E27FC236}">
                <a16:creationId xmlns:a16="http://schemas.microsoft.com/office/drawing/2014/main" id="{CBC2115C-60D3-D725-5762-034FD78866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9913532"/>
              </p:ext>
            </p:extLst>
          </p:nvPr>
        </p:nvGraphicFramePr>
        <p:xfrm>
          <a:off x="505719" y="4536156"/>
          <a:ext cx="2821997" cy="7841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9060">
                  <a:extLst>
                    <a:ext uri="{9D8B030D-6E8A-4147-A177-3AD203B41FA5}">
                      <a16:colId xmlns:a16="http://schemas.microsoft.com/office/drawing/2014/main" val="3512454950"/>
                    </a:ext>
                  </a:extLst>
                </a:gridCol>
                <a:gridCol w="6082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42631">
                  <a:extLst>
                    <a:ext uri="{9D8B030D-6E8A-4147-A177-3AD203B41FA5}">
                      <a16:colId xmlns:a16="http://schemas.microsoft.com/office/drawing/2014/main" val="3038806580"/>
                    </a:ext>
                  </a:extLst>
                </a:gridCol>
                <a:gridCol w="4693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5271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8541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Номер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Наименование учебника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Классы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Номер</a:t>
                      </a:r>
                      <a:r>
                        <a:rPr lang="ru-RU" sz="700" b="1" i="0" u="none" strike="noStrike" baseline="0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 издания</a:t>
                      </a:r>
                      <a:endParaRPr lang="ru-RU" sz="700" b="1" i="0" u="none" strike="noStrike" dirty="0">
                        <a:solidFill>
                          <a:srgbClr val="28458D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Авторы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603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1.1.2.8.1.1.2.</a:t>
                      </a:r>
                    </a:p>
                  </a:txBody>
                  <a:tcPr marL="0" marR="0" marT="36012" marB="3601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Технология</a:t>
                      </a:r>
                    </a:p>
                  </a:txBody>
                  <a:tcPr marL="0" marR="0" marT="36012" marB="3601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0" marR="0" marT="36012" marB="3601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0" i="0" u="none" strike="noStrike" kern="1200" baseline="0" dirty="0">
                          <a:solidFill>
                            <a:srgbClr val="28458D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-е издание, переработанное</a:t>
                      </a:r>
                    </a:p>
                  </a:txBody>
                  <a:tcPr marL="0" marR="0" marT="36012" marB="3601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Глозман Е.С., Кожина</a:t>
                      </a:r>
                      <a:r>
                        <a:rPr lang="ru-RU" sz="700" b="0" i="0" u="none" strike="noStrike" baseline="0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 О.А., Хотунцев Ю.Л. и другие</a:t>
                      </a:r>
                      <a:endParaRPr lang="ru-RU" sz="700" b="0" i="0" u="none" strike="noStrike" dirty="0">
                        <a:solidFill>
                          <a:srgbClr val="28458D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6012" marB="3601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244043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>
            <a:extLst>
              <a:ext uri="{FF2B5EF4-FFF2-40B4-BE49-F238E27FC236}">
                <a16:creationId xmlns:a16="http://schemas.microsoft.com/office/drawing/2014/main" id="{20D776D5-02D0-342B-83AE-AE5309E5E0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900" y="77069"/>
            <a:ext cx="10701338" cy="409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УМК «Технология» Глозман Е.С., Кожина О.А., Хотунцев Ю.Л. и другие 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434" y="1289882"/>
            <a:ext cx="2292638" cy="30568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00" t="-51" r="86325" b="87149"/>
          <a:stretch/>
        </p:blipFill>
        <p:spPr>
          <a:xfrm>
            <a:off x="863465" y="1280357"/>
            <a:ext cx="174760" cy="416320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3551193" y="1179297"/>
            <a:ext cx="8412480" cy="4975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Добавлена глава 1 «Производство и технологии». В ней § 1 «Технологии в мире,                  §2 «Технологии и человек, §3 «Элементы управления», §4 «Технологии и основы дизайна».</a:t>
            </a:r>
          </a:p>
          <a:p>
            <a:pPr>
              <a:spcAft>
                <a:spcPts val="400"/>
              </a:spcAft>
            </a:pPr>
            <a:endParaRPr lang="ru-RU" sz="800" dirty="0"/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Сокращена глава «Технологии обработки текстильных материалов». Нет §27 «Из истории поясной одежды».</a:t>
            </a:r>
          </a:p>
          <a:p>
            <a:pPr>
              <a:spcAft>
                <a:spcPts val="400"/>
              </a:spcAft>
            </a:pPr>
            <a:endParaRPr lang="ru-RU" sz="800" dirty="0"/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Сокращена глава «Технологии художественно-прикладной обработки материалов». Нет §53 «Макраме».</a:t>
            </a:r>
          </a:p>
          <a:p>
            <a:pPr>
              <a:spcAft>
                <a:spcPts val="400"/>
              </a:spcAft>
            </a:pPr>
            <a:endParaRPr lang="ru-RU" sz="800" dirty="0"/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В главе «Технологии ведения дома» объединены и частично сокращены §57 «Оформление интерьера комнатными растениями» и § 58 «Выбор комнатных растений и уход за ними».</a:t>
            </a:r>
          </a:p>
          <a:p>
            <a:pPr>
              <a:spcAft>
                <a:spcPts val="400"/>
              </a:spcAft>
            </a:pPr>
            <a:endParaRPr lang="ru-RU" sz="800" dirty="0"/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Глава «Энергетические технологии. Основы электротехники и робототехники» существенно обновлена и переработана.</a:t>
            </a:r>
          </a:p>
          <a:p>
            <a:pPr>
              <a:spcAft>
                <a:spcPts val="400"/>
              </a:spcAft>
            </a:pPr>
            <a:endParaRPr lang="ru-RU" sz="800" dirty="0"/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Сокращены некоторые практические работы, технологические карты, приложения, словарь понятий и терминов, словарь профессий.</a:t>
            </a:r>
          </a:p>
          <a:p>
            <a:pPr>
              <a:spcAft>
                <a:spcPts val="400"/>
              </a:spcAft>
            </a:pPr>
            <a:endParaRPr lang="ru-RU" sz="800" dirty="0"/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600" dirty="0"/>
              <a:t>Чертежи исправлены и доработаны по современным стандартам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218161" y="648028"/>
            <a:ext cx="43876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rgbClr val="28458D"/>
                </a:solidFill>
              </a:rPr>
              <a:t>7 класс. Ключевые изменения в учебнике</a:t>
            </a:r>
          </a:p>
        </p:txBody>
      </p:sp>
      <p:sp>
        <p:nvSpPr>
          <p:cNvPr id="16" name="Скругленный прямоугольник 15">
            <a:extLst>
              <a:ext uri="{FF2B5EF4-FFF2-40B4-BE49-F238E27FC236}">
                <a16:creationId xmlns:a16="http://schemas.microsoft.com/office/drawing/2014/main" id="{F68916EE-7F83-C5E6-695A-6D66B175E636}"/>
              </a:ext>
            </a:extLst>
          </p:cNvPr>
          <p:cNvSpPr/>
          <p:nvPr/>
        </p:nvSpPr>
        <p:spPr>
          <a:xfrm>
            <a:off x="386456" y="4703224"/>
            <a:ext cx="2988887" cy="759484"/>
          </a:xfrm>
          <a:prstGeom prst="roundRect">
            <a:avLst>
              <a:gd name="adj" fmla="val 17475"/>
            </a:avLst>
          </a:prstGeom>
          <a:noFill/>
          <a:ln w="19050">
            <a:solidFill>
              <a:srgbClr val="2845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KZ"/>
          </a:p>
        </p:txBody>
      </p:sp>
      <p:graphicFrame>
        <p:nvGraphicFramePr>
          <p:cNvPr id="17" name="Таблица 16">
            <a:extLst>
              <a:ext uri="{FF2B5EF4-FFF2-40B4-BE49-F238E27FC236}">
                <a16:creationId xmlns:a16="http://schemas.microsoft.com/office/drawing/2014/main" id="{CBC2115C-60D3-D725-5762-034FD78866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5275521"/>
              </p:ext>
            </p:extLst>
          </p:nvPr>
        </p:nvGraphicFramePr>
        <p:xfrm>
          <a:off x="469900" y="4678553"/>
          <a:ext cx="2821997" cy="7841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5356">
                  <a:extLst>
                    <a:ext uri="{9D8B030D-6E8A-4147-A177-3AD203B41FA5}">
                      <a16:colId xmlns:a16="http://schemas.microsoft.com/office/drawing/2014/main" val="3512454950"/>
                    </a:ext>
                  </a:extLst>
                </a:gridCol>
                <a:gridCol w="6000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4464">
                  <a:extLst>
                    <a:ext uri="{9D8B030D-6E8A-4147-A177-3AD203B41FA5}">
                      <a16:colId xmlns:a16="http://schemas.microsoft.com/office/drawing/2014/main" val="3038806580"/>
                    </a:ext>
                  </a:extLst>
                </a:gridCol>
                <a:gridCol w="4693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5271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8541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Номер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Наименование учебника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Классы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Номер</a:t>
                      </a:r>
                      <a:r>
                        <a:rPr lang="ru-RU" sz="700" b="1" i="0" u="none" strike="noStrike" baseline="0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 издания</a:t>
                      </a:r>
                      <a:endParaRPr lang="ru-RU" sz="700" b="1" i="0" u="none" strike="noStrike" dirty="0">
                        <a:solidFill>
                          <a:srgbClr val="28458D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Авторы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603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1.1.2.8.1.1.3.</a:t>
                      </a:r>
                    </a:p>
                  </a:txBody>
                  <a:tcPr marL="0" marR="0" marT="36012" marB="3601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Технология</a:t>
                      </a:r>
                    </a:p>
                  </a:txBody>
                  <a:tcPr marL="0" marR="0" marT="36012" marB="3601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0" marR="0" marT="36012" marB="3601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0" i="0" u="none" strike="noStrike" kern="1200" baseline="0" dirty="0">
                          <a:solidFill>
                            <a:srgbClr val="28458D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-е издание, переработанное</a:t>
                      </a:r>
                    </a:p>
                  </a:txBody>
                  <a:tcPr marL="0" marR="0" marT="36012" marB="3601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Глозман Е.С., Кожина</a:t>
                      </a:r>
                      <a:r>
                        <a:rPr lang="ru-RU" sz="700" b="0" i="0" u="none" strike="noStrike" baseline="0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 О.А., Хотунцев Ю.Л. и другие</a:t>
                      </a:r>
                      <a:endParaRPr lang="ru-RU" sz="700" b="0" i="0" u="none" strike="noStrike" dirty="0">
                        <a:solidFill>
                          <a:srgbClr val="28458D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6012" marB="3601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652945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8" name="Прямоугольник 3">
            <a:extLst>
              <a:ext uri="{FF2B5EF4-FFF2-40B4-BE49-F238E27FC236}">
                <a16:creationId xmlns:a16="http://schemas.microsoft.com/office/drawing/2014/main" id="{20D776D5-02D0-342B-83AE-AE5309E5E0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4774" y="69429"/>
            <a:ext cx="10701338" cy="409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УМК «Технология» Глозман Е.С., Кожина О.А., Хотунцев Ю.Л. и другие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458411" y="922199"/>
            <a:ext cx="8412480" cy="50577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400" dirty="0"/>
              <a:t>Добавлена глава 1 «Модели человеческой деятельности»: §1 «Моделирование как основа познания и практической деятельности», §2 «Интеллект-карты как инструмент систематизации информации», §3 «Техника, технические системы и теория решения изобретательских задач».</a:t>
            </a:r>
          </a:p>
          <a:p>
            <a:pPr>
              <a:spcAft>
                <a:spcPts val="400"/>
              </a:spcAft>
            </a:pPr>
            <a:endParaRPr lang="ru-RU" sz="700" dirty="0"/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400" dirty="0"/>
              <a:t>В главу «Современные и перспективные технологии» добавлен §7 «Основы 3D-технологий».</a:t>
            </a:r>
          </a:p>
          <a:p>
            <a:pPr>
              <a:spcAft>
                <a:spcPts val="400"/>
              </a:spcAft>
            </a:pPr>
            <a:endParaRPr lang="ru-RU" sz="700" dirty="0"/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400" dirty="0"/>
              <a:t>В главе «Технологии обработки текстильных материалов» объединены и частично сокращены  §10  «История костюма» и  §11 «Зрительные иллюзии в одежде». Добавлен §26 «Основные этапы изготовления одежды на швейном производстве» </a:t>
            </a:r>
            <a:r>
              <a:rPr lang="ru-RU" sz="1400" i="1" dirty="0"/>
              <a:t>(перенесён из 6 </a:t>
            </a:r>
            <a:r>
              <a:rPr lang="ru-RU" sz="1400" i="1" dirty="0" err="1"/>
              <a:t>кл</a:t>
            </a:r>
            <a:r>
              <a:rPr lang="ru-RU" sz="1400" i="1" dirty="0"/>
              <a:t>.).</a:t>
            </a:r>
          </a:p>
          <a:p>
            <a:pPr>
              <a:spcAft>
                <a:spcPts val="400"/>
              </a:spcAft>
            </a:pPr>
            <a:endParaRPr lang="ru-RU" sz="700" i="1" dirty="0"/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400" dirty="0"/>
              <a:t>Сокращена глава «Электротехника, электроэнергетика и электроника». Нет §36  «</a:t>
            </a:r>
            <a:r>
              <a:rPr lang="ru-RU" sz="1400" dirty="0" err="1"/>
              <a:t>Неразветвлённые</a:t>
            </a:r>
            <a:r>
              <a:rPr lang="ru-RU" sz="1400" dirty="0"/>
              <a:t> и разветвлённые электрические цепи», §37 «Электромагнитное реле».</a:t>
            </a:r>
          </a:p>
          <a:p>
            <a:pPr>
              <a:spcAft>
                <a:spcPts val="400"/>
              </a:spcAft>
            </a:pPr>
            <a:endParaRPr lang="ru-RU" sz="700" dirty="0"/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400" dirty="0"/>
              <a:t>Сокращена глава «Художественная обработка материалов». Нет  §45 «История валяния. Мокрое валяние и </a:t>
            </a:r>
            <a:r>
              <a:rPr lang="ru-RU" sz="1400" dirty="0" err="1"/>
              <a:t>фелтинг</a:t>
            </a:r>
            <a:r>
              <a:rPr lang="ru-RU" sz="1400" dirty="0"/>
              <a:t> — художественный войлок»,  §46  «Цвет в интерьере. Художественный войлок в интерьере».</a:t>
            </a:r>
          </a:p>
          <a:p>
            <a:pPr>
              <a:spcAft>
                <a:spcPts val="400"/>
              </a:spcAft>
            </a:pPr>
            <a:endParaRPr lang="ru-RU" sz="700" dirty="0"/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400" dirty="0"/>
              <a:t>Глава «Робототехника» существенно обновлена и переработана.</a:t>
            </a:r>
          </a:p>
          <a:p>
            <a:pPr>
              <a:spcAft>
                <a:spcPts val="400"/>
              </a:spcAft>
            </a:pPr>
            <a:endParaRPr lang="ru-RU" sz="700" dirty="0"/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400" dirty="0"/>
              <a:t>Сокращены некоторые практические работы, технологические карты, приложения, словарь понятий и терминов, словарь профессий.</a:t>
            </a:r>
          </a:p>
          <a:p>
            <a:pPr>
              <a:spcAft>
                <a:spcPts val="400"/>
              </a:spcAft>
            </a:pPr>
            <a:endParaRPr lang="ru-RU" sz="700" dirty="0"/>
          </a:p>
          <a:p>
            <a:pPr marL="285750" indent="-2857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400" dirty="0"/>
              <a:t>Чертежи исправлены и доработаны по современным стандартам</a:t>
            </a:r>
          </a:p>
        </p:txBody>
      </p:sp>
      <p:grpSp>
        <p:nvGrpSpPr>
          <p:cNvPr id="10" name="Группа 9"/>
          <p:cNvGrpSpPr/>
          <p:nvPr/>
        </p:nvGrpSpPr>
        <p:grpSpPr>
          <a:xfrm>
            <a:off x="739640" y="1074320"/>
            <a:ext cx="2141863" cy="2880001"/>
            <a:chOff x="3322076" y="1012312"/>
            <a:chExt cx="2141863" cy="2880001"/>
          </a:xfrm>
        </p:grpSpPr>
        <p:pic>
          <p:nvPicPr>
            <p:cNvPr id="12" name="Рисунок 1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22076" y="1012313"/>
              <a:ext cx="2141863" cy="28800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5" name="Рисунок 14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00" t="-51" r="86325" b="87149"/>
            <a:stretch/>
          </p:blipFill>
          <p:spPr>
            <a:xfrm>
              <a:off x="3434338" y="1012312"/>
              <a:ext cx="167273" cy="436097"/>
            </a:xfrm>
            <a:prstGeom prst="rect">
              <a:avLst/>
            </a:prstGeom>
          </p:spPr>
        </p:pic>
      </p:grpSp>
      <p:sp>
        <p:nvSpPr>
          <p:cNvPr id="16" name="Скругленный прямоугольник 15">
            <a:extLst>
              <a:ext uri="{FF2B5EF4-FFF2-40B4-BE49-F238E27FC236}">
                <a16:creationId xmlns:a16="http://schemas.microsoft.com/office/drawing/2014/main" id="{F68916EE-7F83-C5E6-695A-6D66B175E636}"/>
              </a:ext>
            </a:extLst>
          </p:cNvPr>
          <p:cNvSpPr/>
          <p:nvPr/>
        </p:nvSpPr>
        <p:spPr>
          <a:xfrm>
            <a:off x="386080" y="4617499"/>
            <a:ext cx="2988887" cy="759484"/>
          </a:xfrm>
          <a:prstGeom prst="roundRect">
            <a:avLst>
              <a:gd name="adj" fmla="val 17475"/>
            </a:avLst>
          </a:prstGeom>
          <a:noFill/>
          <a:ln w="19050">
            <a:solidFill>
              <a:srgbClr val="2845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KZ"/>
          </a:p>
        </p:txBody>
      </p:sp>
      <p:graphicFrame>
        <p:nvGraphicFramePr>
          <p:cNvPr id="17" name="Таблица 16">
            <a:extLst>
              <a:ext uri="{FF2B5EF4-FFF2-40B4-BE49-F238E27FC236}">
                <a16:creationId xmlns:a16="http://schemas.microsoft.com/office/drawing/2014/main" id="{CBC2115C-60D3-D725-5762-034FD78866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8881267"/>
              </p:ext>
            </p:extLst>
          </p:nvPr>
        </p:nvGraphicFramePr>
        <p:xfrm>
          <a:off x="469524" y="4592828"/>
          <a:ext cx="2821997" cy="7841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5356">
                  <a:extLst>
                    <a:ext uri="{9D8B030D-6E8A-4147-A177-3AD203B41FA5}">
                      <a16:colId xmlns:a16="http://schemas.microsoft.com/office/drawing/2014/main" val="3512454950"/>
                    </a:ext>
                  </a:extLst>
                </a:gridCol>
                <a:gridCol w="6000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4464">
                  <a:extLst>
                    <a:ext uri="{9D8B030D-6E8A-4147-A177-3AD203B41FA5}">
                      <a16:colId xmlns:a16="http://schemas.microsoft.com/office/drawing/2014/main" val="3038806580"/>
                    </a:ext>
                  </a:extLst>
                </a:gridCol>
                <a:gridCol w="4693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5271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8541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Номер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Наименование учебника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Классы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Номер</a:t>
                      </a:r>
                      <a:r>
                        <a:rPr lang="ru-RU" sz="700" b="1" i="0" u="none" strike="noStrike" baseline="0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 издания</a:t>
                      </a:r>
                      <a:endParaRPr lang="ru-RU" sz="700" b="1" i="0" u="none" strike="noStrike" dirty="0">
                        <a:solidFill>
                          <a:srgbClr val="28458D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Авторы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603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1.1.2.8.1.1.4.</a:t>
                      </a:r>
                    </a:p>
                  </a:txBody>
                  <a:tcPr marL="0" marR="0" marT="36012" marB="3601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Технология</a:t>
                      </a:r>
                    </a:p>
                  </a:txBody>
                  <a:tcPr marL="0" marR="0" marT="36012" marB="3601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8-9</a:t>
                      </a:r>
                    </a:p>
                  </a:txBody>
                  <a:tcPr marL="0" marR="0" marT="36012" marB="3601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0" i="0" u="none" strike="noStrike" kern="1200" baseline="0" dirty="0">
                          <a:solidFill>
                            <a:srgbClr val="28458D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-е издание, переработанное</a:t>
                      </a:r>
                    </a:p>
                  </a:txBody>
                  <a:tcPr marL="0" marR="0" marT="36012" marB="3601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0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Глозман Е.С., Кожина</a:t>
                      </a:r>
                      <a:r>
                        <a:rPr lang="ru-RU" sz="700" b="0" i="0" u="none" strike="noStrike" baseline="0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 О.А., Хотунцев Ю.Л. и другие</a:t>
                      </a:r>
                      <a:endParaRPr lang="ru-RU" sz="700" b="0" i="0" u="none" strike="noStrike" dirty="0">
                        <a:solidFill>
                          <a:srgbClr val="28458D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6012" marB="36012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233C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8" name="Прямоугольник 17"/>
          <p:cNvSpPr/>
          <p:nvPr/>
        </p:nvSpPr>
        <p:spPr>
          <a:xfrm>
            <a:off x="3976424" y="378696"/>
            <a:ext cx="485729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rgbClr val="28458D"/>
                </a:solidFill>
              </a:rPr>
              <a:t>8 – 9 класс. Ключевые изменения в учебнике</a:t>
            </a:r>
          </a:p>
        </p:txBody>
      </p:sp>
    </p:spTree>
    <p:extLst>
      <p:ext uri="{BB962C8B-B14F-4D97-AF65-F5344CB8AC3E}">
        <p14:creationId xmlns:p14="http://schemas.microsoft.com/office/powerpoint/2010/main" val="36435257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3F5485B-613E-4ADA-9BA0-90917B728B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/>
              <a:t>Федеральный учебный план:</a:t>
            </a:r>
            <a:br>
              <a:rPr lang="ru-RU" dirty="0"/>
            </a:br>
            <a:endParaRPr lang="ru-RU" dirty="0"/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7DF787E-FC0B-4DB8-8655-01FC670BB3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4916872"/>
              </p:ext>
            </p:extLst>
          </p:nvPr>
        </p:nvGraphicFramePr>
        <p:xfrm>
          <a:off x="1694576" y="1258349"/>
          <a:ext cx="8154096" cy="51818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21871">
                  <a:extLst>
                    <a:ext uri="{9D8B030D-6E8A-4147-A177-3AD203B41FA5}">
                      <a16:colId xmlns:a16="http://schemas.microsoft.com/office/drawing/2014/main" val="3374631450"/>
                    </a:ext>
                  </a:extLst>
                </a:gridCol>
                <a:gridCol w="2421871">
                  <a:extLst>
                    <a:ext uri="{9D8B030D-6E8A-4147-A177-3AD203B41FA5}">
                      <a16:colId xmlns:a16="http://schemas.microsoft.com/office/drawing/2014/main" val="1537979106"/>
                    </a:ext>
                  </a:extLst>
                </a:gridCol>
                <a:gridCol w="521484">
                  <a:extLst>
                    <a:ext uri="{9D8B030D-6E8A-4147-A177-3AD203B41FA5}">
                      <a16:colId xmlns:a16="http://schemas.microsoft.com/office/drawing/2014/main" val="3527234102"/>
                    </a:ext>
                  </a:extLst>
                </a:gridCol>
                <a:gridCol w="521484">
                  <a:extLst>
                    <a:ext uri="{9D8B030D-6E8A-4147-A177-3AD203B41FA5}">
                      <a16:colId xmlns:a16="http://schemas.microsoft.com/office/drawing/2014/main" val="2436546619"/>
                    </a:ext>
                  </a:extLst>
                </a:gridCol>
                <a:gridCol w="521484">
                  <a:extLst>
                    <a:ext uri="{9D8B030D-6E8A-4147-A177-3AD203B41FA5}">
                      <a16:colId xmlns:a16="http://schemas.microsoft.com/office/drawing/2014/main" val="427426608"/>
                    </a:ext>
                  </a:extLst>
                </a:gridCol>
                <a:gridCol w="521484">
                  <a:extLst>
                    <a:ext uri="{9D8B030D-6E8A-4147-A177-3AD203B41FA5}">
                      <a16:colId xmlns:a16="http://schemas.microsoft.com/office/drawing/2014/main" val="1819229259"/>
                    </a:ext>
                  </a:extLst>
                </a:gridCol>
                <a:gridCol w="612209">
                  <a:extLst>
                    <a:ext uri="{9D8B030D-6E8A-4147-A177-3AD203B41FA5}">
                      <a16:colId xmlns:a16="http://schemas.microsoft.com/office/drawing/2014/main" val="1828106565"/>
                    </a:ext>
                  </a:extLst>
                </a:gridCol>
                <a:gridCol w="612209">
                  <a:extLst>
                    <a:ext uri="{9D8B030D-6E8A-4147-A177-3AD203B41FA5}">
                      <a16:colId xmlns:a16="http://schemas.microsoft.com/office/drawing/2014/main" val="3880355762"/>
                    </a:ext>
                  </a:extLst>
                </a:gridCol>
              </a:tblGrid>
              <a:tr h="257892">
                <a:tc gridSpan="8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Вариант N 1</a:t>
                      </a:r>
                      <a:endParaRPr lang="ru-RU" sz="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8335913"/>
                  </a:ext>
                </a:extLst>
              </a:tr>
              <a:tr h="227066">
                <a:tc gridSpan="8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Федеральный недельный учебный план основного общего образования для 5-дневной учебной недели</a:t>
                      </a:r>
                      <a:endParaRPr lang="ru-RU" sz="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7481481"/>
                  </a:ext>
                </a:extLst>
              </a:tr>
              <a:tr h="144978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Предметные области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Учебные предметы классы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 gridSpan="6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Количество часов в неделю</a:t>
                      </a:r>
                      <a:endParaRPr lang="ru-RU" sz="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8139040"/>
                  </a:ext>
                </a:extLst>
              </a:tr>
              <a:tr h="14497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V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VI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VII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VIII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IX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Всего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extLst>
                  <a:ext uri="{0D108BD9-81ED-4DB2-BD59-A6C34878D82A}">
                    <a16:rowId xmlns:a16="http://schemas.microsoft.com/office/drawing/2014/main" val="203916514"/>
                  </a:ext>
                </a:extLst>
              </a:tr>
              <a:tr h="144978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Обязательная часть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extLst>
                  <a:ext uri="{0D108BD9-81ED-4DB2-BD59-A6C34878D82A}">
                    <a16:rowId xmlns:a16="http://schemas.microsoft.com/office/drawing/2014/main" val="444981637"/>
                  </a:ext>
                </a:extLst>
              </a:tr>
              <a:tr h="144978">
                <a:tc row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Русский язык и литература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Русский язык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5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6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4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3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3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1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 anchor="b"/>
                </a:tc>
                <a:extLst>
                  <a:ext uri="{0D108BD9-81ED-4DB2-BD59-A6C34878D82A}">
                    <a16:rowId xmlns:a16="http://schemas.microsoft.com/office/drawing/2014/main" val="471256244"/>
                  </a:ext>
                </a:extLst>
              </a:tr>
              <a:tr h="14497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Литература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3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3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2</a:t>
                      </a:r>
                      <a:endParaRPr lang="ru-RU" sz="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3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3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extLst>
                  <a:ext uri="{0D108BD9-81ED-4DB2-BD59-A6C34878D82A}">
                    <a16:rowId xmlns:a16="http://schemas.microsoft.com/office/drawing/2014/main" val="2150272508"/>
                  </a:ext>
                </a:extLst>
              </a:tr>
              <a:tr h="14497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Родная литература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 anchor="b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extLst>
                  <a:ext uri="{0D108BD9-81ED-4DB2-BD59-A6C34878D82A}">
                    <a16:rowId xmlns:a16="http://schemas.microsoft.com/office/drawing/2014/main" val="1053613702"/>
                  </a:ext>
                </a:extLst>
              </a:tr>
              <a:tr h="14497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Иностранные языки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Иностранный язык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3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3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3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3</a:t>
                      </a:r>
                      <a:endParaRPr lang="ru-RU" sz="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3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5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extLst>
                  <a:ext uri="{0D108BD9-81ED-4DB2-BD59-A6C34878D82A}">
                    <a16:rowId xmlns:a16="http://schemas.microsoft.com/office/drawing/2014/main" val="1255895063"/>
                  </a:ext>
                </a:extLst>
              </a:tr>
              <a:tr h="144978">
                <a:tc rowSpan="5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Математика и информатика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Математика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5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5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0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 anchor="ctr"/>
                </a:tc>
                <a:extLst>
                  <a:ext uri="{0D108BD9-81ED-4DB2-BD59-A6C34878D82A}">
                    <a16:rowId xmlns:a16="http://schemas.microsoft.com/office/drawing/2014/main" val="948729054"/>
                  </a:ext>
                </a:extLst>
              </a:tr>
              <a:tr h="14497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Алгебра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3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3</a:t>
                      </a:r>
                      <a:endParaRPr lang="ru-RU" sz="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3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9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extLst>
                  <a:ext uri="{0D108BD9-81ED-4DB2-BD59-A6C34878D82A}">
                    <a16:rowId xmlns:a16="http://schemas.microsoft.com/office/drawing/2014/main" val="167746090"/>
                  </a:ext>
                </a:extLst>
              </a:tr>
              <a:tr h="14497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Геометрия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 anchor="b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2</a:t>
                      </a:r>
                      <a:endParaRPr lang="ru-RU" sz="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6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 anchor="b"/>
                </a:tc>
                <a:extLst>
                  <a:ext uri="{0D108BD9-81ED-4DB2-BD59-A6C34878D82A}">
                    <a16:rowId xmlns:a16="http://schemas.microsoft.com/office/drawing/2014/main" val="2405368815"/>
                  </a:ext>
                </a:extLst>
              </a:tr>
              <a:tr h="14497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Вероятность и статистика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 anchor="b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1</a:t>
                      </a:r>
                      <a:endParaRPr lang="ru-RU" sz="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 anchor="b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3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 anchor="ctr"/>
                </a:tc>
                <a:extLst>
                  <a:ext uri="{0D108BD9-81ED-4DB2-BD59-A6C34878D82A}">
                    <a16:rowId xmlns:a16="http://schemas.microsoft.com/office/drawing/2014/main" val="3861647738"/>
                  </a:ext>
                </a:extLst>
              </a:tr>
              <a:tr h="14497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Информатика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1</a:t>
                      </a:r>
                      <a:endParaRPr lang="ru-RU" sz="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3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 anchor="ctr"/>
                </a:tc>
                <a:extLst>
                  <a:ext uri="{0D108BD9-81ED-4DB2-BD59-A6C34878D82A}">
                    <a16:rowId xmlns:a16="http://schemas.microsoft.com/office/drawing/2014/main" val="1693524004"/>
                  </a:ext>
                </a:extLst>
              </a:tr>
              <a:tr h="144978">
                <a:tc row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Общественно-научные предметы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История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2</a:t>
                      </a:r>
                      <a:endParaRPr lang="ru-RU" sz="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0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extLst>
                  <a:ext uri="{0D108BD9-81ED-4DB2-BD59-A6C34878D82A}">
                    <a16:rowId xmlns:a16="http://schemas.microsoft.com/office/drawing/2014/main" val="2355044213"/>
                  </a:ext>
                </a:extLst>
              </a:tr>
              <a:tr h="14497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Обществознание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1</a:t>
                      </a:r>
                      <a:endParaRPr lang="ru-RU" sz="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4</a:t>
                      </a:r>
                      <a:endParaRPr lang="ru-RU" sz="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extLst>
                  <a:ext uri="{0D108BD9-81ED-4DB2-BD59-A6C34878D82A}">
                    <a16:rowId xmlns:a16="http://schemas.microsoft.com/office/drawing/2014/main" val="2834465921"/>
                  </a:ext>
                </a:extLst>
              </a:tr>
              <a:tr h="14497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География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2</a:t>
                      </a:r>
                      <a:endParaRPr lang="ru-RU" sz="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2</a:t>
                      </a:r>
                      <a:endParaRPr lang="ru-RU" sz="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8</a:t>
                      </a:r>
                      <a:endParaRPr lang="ru-RU" sz="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extLst>
                  <a:ext uri="{0D108BD9-81ED-4DB2-BD59-A6C34878D82A}">
                    <a16:rowId xmlns:a16="http://schemas.microsoft.com/office/drawing/2014/main" val="2577562310"/>
                  </a:ext>
                </a:extLst>
              </a:tr>
              <a:tr h="144978">
                <a:tc row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Естественнонаучные предметы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Физика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3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7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extLst>
                  <a:ext uri="{0D108BD9-81ED-4DB2-BD59-A6C34878D82A}">
                    <a16:rowId xmlns:a16="http://schemas.microsoft.com/office/drawing/2014/main" val="1601155350"/>
                  </a:ext>
                </a:extLst>
              </a:tr>
              <a:tr h="14497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Химия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4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extLst>
                  <a:ext uri="{0D108BD9-81ED-4DB2-BD59-A6C34878D82A}">
                    <a16:rowId xmlns:a16="http://schemas.microsoft.com/office/drawing/2014/main" val="2332217995"/>
                  </a:ext>
                </a:extLst>
              </a:tr>
              <a:tr h="14497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Биология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7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extLst>
                  <a:ext uri="{0D108BD9-81ED-4DB2-BD59-A6C34878D82A}">
                    <a16:rowId xmlns:a16="http://schemas.microsoft.com/office/drawing/2014/main" val="771232645"/>
                  </a:ext>
                </a:extLst>
              </a:tr>
              <a:tr h="30915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Основы духовно-нравственной культуры народов России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Основы духовно-нравственной культуры народов России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extLst>
                  <a:ext uri="{0D108BD9-81ED-4DB2-BD59-A6C34878D82A}">
                    <a16:rowId xmlns:a16="http://schemas.microsoft.com/office/drawing/2014/main" val="3609899682"/>
                  </a:ext>
                </a:extLst>
              </a:tr>
              <a:tr h="144978"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Искусство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Изобразительное искусство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3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extLst>
                  <a:ext uri="{0D108BD9-81ED-4DB2-BD59-A6C34878D82A}">
                    <a16:rowId xmlns:a16="http://schemas.microsoft.com/office/drawing/2014/main" val="3602407871"/>
                  </a:ext>
                </a:extLst>
              </a:tr>
              <a:tr h="14497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Музыка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4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extLst>
                  <a:ext uri="{0D108BD9-81ED-4DB2-BD59-A6C34878D82A}">
                    <a16:rowId xmlns:a16="http://schemas.microsoft.com/office/drawing/2014/main" val="3201195377"/>
                  </a:ext>
                </a:extLst>
              </a:tr>
              <a:tr h="14497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Технология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Технология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2</a:t>
                      </a:r>
                      <a:endParaRPr lang="ru-RU" sz="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8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extLst>
                  <a:ext uri="{0D108BD9-81ED-4DB2-BD59-A6C34878D82A}">
                    <a16:rowId xmlns:a16="http://schemas.microsoft.com/office/drawing/2014/main" val="1399839648"/>
                  </a:ext>
                </a:extLst>
              </a:tr>
              <a:tr h="144978"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Физическая культура и основы безопасности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Физическая культура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0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extLst>
                  <a:ext uri="{0D108BD9-81ED-4DB2-BD59-A6C34878D82A}">
                    <a16:rowId xmlns:a16="http://schemas.microsoft.com/office/drawing/2014/main" val="222431625"/>
                  </a:ext>
                </a:extLst>
              </a:tr>
              <a:tr h="22706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Основы безопасности жизнедеятельности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 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extLst>
                  <a:ext uri="{0D108BD9-81ED-4DB2-BD59-A6C34878D82A}">
                    <a16:rowId xmlns:a16="http://schemas.microsoft.com/office/drawing/2014/main" val="2717650201"/>
                  </a:ext>
                </a:extLst>
              </a:tr>
              <a:tr h="144978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Итого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7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9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30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31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32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49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extLst>
                  <a:ext uri="{0D108BD9-81ED-4DB2-BD59-A6C34878D82A}">
                    <a16:rowId xmlns:a16="http://schemas.microsoft.com/office/drawing/2014/main" val="2021433939"/>
                  </a:ext>
                </a:extLst>
              </a:tr>
              <a:tr h="227066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Часть, формируемая участниками образовательных отношений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8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extLst>
                  <a:ext uri="{0D108BD9-81ED-4DB2-BD59-A6C34878D82A}">
                    <a16:rowId xmlns:a16="http://schemas.microsoft.com/office/drawing/2014/main" val="4188049496"/>
                  </a:ext>
                </a:extLst>
              </a:tr>
              <a:tr h="144978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Учебные недели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34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34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34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34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34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34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extLst>
                  <a:ext uri="{0D108BD9-81ED-4DB2-BD59-A6C34878D82A}">
                    <a16:rowId xmlns:a16="http://schemas.microsoft.com/office/drawing/2014/main" val="2335403719"/>
                  </a:ext>
                </a:extLst>
              </a:tr>
              <a:tr h="144978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Всего часов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986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020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088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122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1122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5338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extLst>
                  <a:ext uri="{0D108BD9-81ED-4DB2-BD59-A6C34878D82A}">
                    <a16:rowId xmlns:a16="http://schemas.microsoft.com/office/drawing/2014/main" val="3831432048"/>
                  </a:ext>
                </a:extLst>
              </a:tr>
              <a:tr h="309150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Максимально допустимая недельная нагрузка (при 5-дневной неделе) в соответствии с действующими санитарными правилами и нормами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29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30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32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33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>
                          <a:effectLst/>
                        </a:rPr>
                        <a:t>33</a:t>
                      </a:r>
                      <a:endParaRPr lang="ru-RU" sz="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157</a:t>
                      </a:r>
                      <a:endParaRPr lang="ru-RU" sz="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44" marR="17744" marT="29192" marB="29192"/>
                </a:tc>
                <a:extLst>
                  <a:ext uri="{0D108BD9-81ED-4DB2-BD59-A6C34878D82A}">
                    <a16:rowId xmlns:a16="http://schemas.microsoft.com/office/drawing/2014/main" val="861331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9756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45">
            <a:extLst>
              <a:ext uri="{FF2B5EF4-FFF2-40B4-BE49-F238E27FC236}">
                <a16:creationId xmlns:a16="http://schemas.microsoft.com/office/drawing/2014/main" id="{C272D871-6F7A-A8B3-5CA9-F48E8FA7F51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7397" y="251813"/>
            <a:ext cx="6560988" cy="409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ФГОС – 2021. Какие учебники использовать?</a:t>
            </a:r>
            <a:endParaRPr lang="ru-RU" altLang="ru-RU" sz="2400" b="1" dirty="0">
              <a:solidFill>
                <a:srgbClr val="002060"/>
              </a:solidFill>
              <a:cs typeface="Open Sans Condensed" pitchFamily="2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93178" y="972199"/>
            <a:ext cx="3690851" cy="830997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Использовать учебное пособие, переработанное под ФГОС – 2021 </a:t>
            </a:r>
          </a:p>
          <a:p>
            <a:r>
              <a:rPr lang="ru-RU" sz="1600" dirty="0"/>
              <a:t> </a:t>
            </a:r>
            <a:endParaRPr lang="ru-RU" sz="1600" dirty="0">
              <a:solidFill>
                <a:srgbClr val="FF0000"/>
              </a:solidFill>
            </a:endParaRPr>
          </a:p>
        </p:txBody>
      </p:sp>
      <p:grpSp>
        <p:nvGrpSpPr>
          <p:cNvPr id="22" name="Группа 21"/>
          <p:cNvGrpSpPr/>
          <p:nvPr/>
        </p:nvGrpSpPr>
        <p:grpSpPr>
          <a:xfrm>
            <a:off x="357397" y="901287"/>
            <a:ext cx="719138" cy="719141"/>
            <a:chOff x="5769278" y="1482380"/>
            <a:chExt cx="719138" cy="719141"/>
          </a:xfrm>
        </p:grpSpPr>
        <p:sp>
          <p:nvSpPr>
            <p:cNvPr id="23" name="Овал 22">
              <a:extLst>
                <a:ext uri="{FF2B5EF4-FFF2-40B4-BE49-F238E27FC236}">
                  <a16:creationId xmlns:a16="http://schemas.microsoft.com/office/drawing/2014/main" id="{C5CB4B66-2E7F-8453-5943-71C270A5F1E6}"/>
                </a:ext>
              </a:extLst>
            </p:cNvPr>
            <p:cNvSpPr>
              <a:spLocks noChangeAspect="1"/>
            </p:cNvSpPr>
            <p:nvPr/>
          </p:nvSpPr>
          <p:spPr bwMode="auto">
            <a:xfrm rot="16200000">
              <a:off x="5769276" y="1482382"/>
              <a:ext cx="719141" cy="719138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23398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KZ"/>
            </a:p>
          </p:txBody>
        </p:sp>
        <p:sp>
          <p:nvSpPr>
            <p:cNvPr id="24" name="Прямоугольник 47">
              <a:extLst>
                <a:ext uri="{FF2B5EF4-FFF2-40B4-BE49-F238E27FC236}">
                  <a16:creationId xmlns:a16="http://schemas.microsoft.com/office/drawing/2014/main" id="{E5D675C9-6FD3-4732-33E9-13F8D9FF68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52634" y="1611764"/>
              <a:ext cx="352425" cy="460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spcBef>
                  <a:spcPts val="600"/>
                </a:spcBef>
                <a:buClr>
                  <a:srgbClr val="2D3494"/>
                </a:buClr>
              </a:pPr>
              <a:r>
                <a:rPr lang="ru-RU" altLang="ru-RU" sz="2400" b="1" dirty="0">
                  <a:solidFill>
                    <a:srgbClr val="28458D"/>
                  </a:solidFill>
                  <a:cs typeface="Open Sans Condensed" pitchFamily="2" charset="0"/>
                </a:rPr>
                <a:t>2</a:t>
              </a: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3695701" y="1271733"/>
            <a:ext cx="7820024" cy="1938992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«Технология» </a:t>
            </a:r>
            <a:r>
              <a:rPr lang="ru-RU" sz="1600" b="1" dirty="0" err="1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Роговцева</a:t>
            </a:r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 Н.И, Богданова Н.В. и другие. 1 – 4 класс. </a:t>
            </a:r>
          </a:p>
          <a:p>
            <a:pPr algn="r">
              <a:lnSpc>
                <a:spcPct val="150000"/>
              </a:lnSpc>
            </a:pPr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«Технология» </a:t>
            </a:r>
            <a:r>
              <a:rPr lang="ru-RU" sz="1600" b="1" dirty="0" err="1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Лутцева</a:t>
            </a:r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 Е.А. 1 – 4 класс.</a:t>
            </a:r>
          </a:p>
          <a:p>
            <a:pPr algn="r">
              <a:lnSpc>
                <a:spcPct val="150000"/>
              </a:lnSpc>
            </a:pPr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«Технология» Конышева Н.М. 1 – 4 класс.</a:t>
            </a:r>
          </a:p>
          <a:p>
            <a:pPr algn="r">
              <a:lnSpc>
                <a:spcPct val="150000"/>
              </a:lnSpc>
            </a:pPr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«Технология» </a:t>
            </a:r>
            <a:r>
              <a:rPr lang="ru-RU" sz="1600" b="1" dirty="0" err="1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Узорова</a:t>
            </a:r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 О.В., </a:t>
            </a:r>
            <a:r>
              <a:rPr lang="ru-RU" sz="1600" b="1" dirty="0" err="1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Нефёдова</a:t>
            </a:r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 Е.А. 1 – 4 класс. </a:t>
            </a:r>
          </a:p>
          <a:p>
            <a:pPr algn="r">
              <a:lnSpc>
                <a:spcPct val="150000"/>
              </a:lnSpc>
            </a:pPr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«Технология» </a:t>
            </a:r>
            <a:r>
              <a:rPr lang="ru-RU" sz="1600" b="1" dirty="0" err="1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Цирулик</a:t>
            </a:r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 Н.А., </a:t>
            </a:r>
            <a:r>
              <a:rPr lang="ru-RU" sz="1600" b="1" dirty="0" err="1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Проснякова</a:t>
            </a:r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 Т.Н. 1 – 4 класс.</a:t>
            </a:r>
            <a:r>
              <a:rPr lang="ru-RU" sz="1200" dirty="0"/>
              <a:t> </a:t>
            </a:r>
            <a:endParaRPr lang="ru-RU" sz="1200" dirty="0">
              <a:solidFill>
                <a:srgbClr val="FF00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57397" y="2998492"/>
            <a:ext cx="11158328" cy="2954655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>
              <a:lnSpc>
                <a:spcPct val="150000"/>
              </a:lnSpc>
            </a:pPr>
            <a:endParaRPr lang="ru-RU" sz="1200" b="1" dirty="0">
              <a:solidFill>
                <a:srgbClr val="28458D"/>
              </a:solidFill>
              <a:latin typeface="Calibri" panose="020F0502020204030204" pitchFamily="34" charset="0"/>
              <a:cs typeface="Open Sans Condensed" pitchFamily="2" charset="0"/>
            </a:endParaRPr>
          </a:p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«Технология» Казакевич В.М., Пичугина Г.В., </a:t>
            </a:r>
            <a:r>
              <a:rPr lang="ru-RU" sz="1600" b="1" dirty="0" err="1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Семёнова</a:t>
            </a:r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 Г.Ю. и другие. 5 – 9 класс.</a:t>
            </a:r>
          </a:p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«Технология» Тищенко А.Т., Синица Н.В. 5 – 9 класс.</a:t>
            </a:r>
          </a:p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«Технология. Производство и технологии» </a:t>
            </a:r>
            <a:r>
              <a:rPr lang="ru-RU" sz="1600" b="1" dirty="0" err="1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Бешенков</a:t>
            </a:r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 С.А., </a:t>
            </a:r>
            <a:r>
              <a:rPr lang="ru-RU" sz="1600" b="1" dirty="0" err="1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Шутикова</a:t>
            </a:r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 М.И., Неустроев С.С., </a:t>
            </a:r>
            <a:r>
              <a:rPr lang="ru-RU" sz="1600" b="1" dirty="0" err="1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Миндзаева</a:t>
            </a:r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 Э.В., Лабутин В.Б., </a:t>
            </a:r>
            <a:r>
              <a:rPr lang="ru-RU" sz="1600" b="1" dirty="0" err="1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Филлипов</a:t>
            </a:r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 В.И. 5 – 9 класс.</a:t>
            </a:r>
          </a:p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«Технология. Робототехника» Копосов Д.Г. 5 – 9 класс.</a:t>
            </a:r>
          </a:p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«Технология. 3</a:t>
            </a:r>
            <a:r>
              <a:rPr lang="en-US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D</a:t>
            </a:r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-моделирование, </a:t>
            </a:r>
            <a:r>
              <a:rPr lang="ru-RU" sz="1600" b="1" dirty="0" err="1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прототипирование</a:t>
            </a:r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 и макетирование» Копосов Д.Г. 7 – 9 класс.</a:t>
            </a:r>
          </a:p>
          <a:p>
            <a:pPr>
              <a:lnSpc>
                <a:spcPct val="150000"/>
              </a:lnSpc>
            </a:pPr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«Технология. Компьютерная графика, черчение» </a:t>
            </a:r>
            <a:r>
              <a:rPr lang="ru-RU" sz="1600" b="1" dirty="0" err="1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Уханёва</a:t>
            </a:r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 В.А., </a:t>
            </a:r>
            <a:r>
              <a:rPr lang="ru-RU" sz="1600" b="1" dirty="0" err="1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Животова</a:t>
            </a:r>
            <a:r>
              <a:rPr lang="ru-RU" sz="16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 Е.Б. 8 – 9 класс.</a:t>
            </a:r>
            <a:r>
              <a:rPr lang="ru-RU" sz="1600" dirty="0"/>
              <a:t> </a:t>
            </a:r>
            <a:endParaRPr lang="ru-RU" sz="1600" dirty="0">
              <a:solidFill>
                <a:srgbClr val="FF0000"/>
              </a:solidFill>
            </a:endParaRPr>
          </a:p>
        </p:txBody>
      </p:sp>
      <p:sp>
        <p:nvSpPr>
          <p:cNvPr id="17" name="TextBox 45">
            <a:extLst>
              <a:ext uri="{FF2B5EF4-FFF2-40B4-BE49-F238E27FC236}">
                <a16:creationId xmlns:a16="http://schemas.microsoft.com/office/drawing/2014/main" id="{C272D871-6F7A-A8B3-5CA9-F48E8FA7F51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44272" y="826159"/>
            <a:ext cx="1871453" cy="409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1 – 4 класс</a:t>
            </a:r>
            <a:endParaRPr lang="ru-RU" altLang="ru-RU" sz="2400" b="1" dirty="0">
              <a:solidFill>
                <a:srgbClr val="002060"/>
              </a:solidFill>
              <a:cs typeface="Open Sans Condensed" pitchFamily="2" charset="0"/>
            </a:endParaRPr>
          </a:p>
        </p:txBody>
      </p:sp>
      <p:sp>
        <p:nvSpPr>
          <p:cNvPr id="18" name="TextBox 45">
            <a:extLst>
              <a:ext uri="{FF2B5EF4-FFF2-40B4-BE49-F238E27FC236}">
                <a16:creationId xmlns:a16="http://schemas.microsoft.com/office/drawing/2014/main" id="{C272D871-6F7A-A8B3-5CA9-F48E8FA7F51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0753" y="2815725"/>
            <a:ext cx="1871453" cy="409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5 – 9 класс</a:t>
            </a:r>
            <a:endParaRPr lang="ru-RU" altLang="ru-RU" sz="2400" b="1" dirty="0">
              <a:solidFill>
                <a:srgbClr val="002060"/>
              </a:solidFill>
              <a:cs typeface="Open Sans Condensed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407247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3" name="Прямоугольник 25">
            <a:extLst>
              <a:ext uri="{FF2B5EF4-FFF2-40B4-BE49-F238E27FC236}">
                <a16:creationId xmlns:a16="http://schemas.microsoft.com/office/drawing/2014/main" id="{344FE669-13AC-7AC4-D6B5-59D91E07C5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5362" y="684778"/>
            <a:ext cx="10102793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1450" indent="-1714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indent="0" eaLnBrk="1" hangingPunct="1">
              <a:spcAft>
                <a:spcPts val="0"/>
              </a:spcAft>
              <a:buClr>
                <a:srgbClr val="28458D"/>
              </a:buClr>
              <a:buSzPct val="120000"/>
            </a:pPr>
            <a:r>
              <a:rPr lang="ru-RU" altLang="ru-RU" sz="1400" b="1" dirty="0">
                <a:solidFill>
                  <a:srgbClr val="28458D"/>
                </a:solidFill>
                <a:cs typeface="Open Sans Light" pitchFamily="2" charset="0"/>
              </a:rPr>
              <a:t>Использование учебных пособий закреплено Федеральным законом «Об образовании в Российской Федерации» и</a:t>
            </a:r>
          </a:p>
          <a:p>
            <a:pPr marL="0" indent="0" eaLnBrk="1" hangingPunct="1">
              <a:spcAft>
                <a:spcPts val="0"/>
              </a:spcAft>
              <a:buClr>
                <a:srgbClr val="28458D"/>
              </a:buClr>
              <a:buSzPct val="120000"/>
            </a:pPr>
            <a:r>
              <a:rPr lang="ru-RU" altLang="ru-RU" sz="1400" b="1" dirty="0">
                <a:solidFill>
                  <a:srgbClr val="28458D"/>
                </a:solidFill>
                <a:cs typeface="Open Sans Light" pitchFamily="2" charset="0"/>
              </a:rPr>
              <a:t> Федеральными государственными образовательными стандартами</a:t>
            </a:r>
          </a:p>
        </p:txBody>
      </p:sp>
      <p:sp>
        <p:nvSpPr>
          <p:cNvPr id="40988" name="Прямоугольник 3">
            <a:extLst>
              <a:ext uri="{FF2B5EF4-FFF2-40B4-BE49-F238E27FC236}">
                <a16:creationId xmlns:a16="http://schemas.microsoft.com/office/drawing/2014/main" id="{20D776D5-02D0-342B-83AE-AE5309E5E0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5362" y="306995"/>
            <a:ext cx="10701338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Статус учебных пособий</a:t>
            </a:r>
          </a:p>
        </p:txBody>
      </p:sp>
      <p:sp>
        <p:nvSpPr>
          <p:cNvPr id="21" name="Скругленный прямоугольник 20">
            <a:extLst>
              <a:ext uri="{FF2B5EF4-FFF2-40B4-BE49-F238E27FC236}">
                <a16:creationId xmlns:a16="http://schemas.microsoft.com/office/drawing/2014/main" id="{CFF3B865-9FE2-CDE1-7FDE-DA97129C2484}"/>
              </a:ext>
            </a:extLst>
          </p:cNvPr>
          <p:cNvSpPr/>
          <p:nvPr/>
        </p:nvSpPr>
        <p:spPr>
          <a:xfrm>
            <a:off x="368762" y="1328329"/>
            <a:ext cx="5641340" cy="416107"/>
          </a:xfrm>
          <a:prstGeom prst="roundRect">
            <a:avLst>
              <a:gd name="adj" fmla="val 50000"/>
            </a:avLst>
          </a:prstGeom>
          <a:solidFill>
            <a:srgbClr val="28458D"/>
          </a:solidFill>
          <a:ln w="19050">
            <a:solidFill>
              <a:srgbClr val="233C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KZ"/>
          </a:p>
        </p:txBody>
      </p:sp>
      <p:sp>
        <p:nvSpPr>
          <p:cNvPr id="22" name="Прямоугольник 22">
            <a:extLst>
              <a:ext uri="{FF2B5EF4-FFF2-40B4-BE49-F238E27FC236}">
                <a16:creationId xmlns:a16="http://schemas.microsoft.com/office/drawing/2014/main" id="{9EABD744-A63C-253F-3159-F2E91F2F95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5362" y="1367812"/>
            <a:ext cx="563302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bg1"/>
                </a:solidFill>
                <a:cs typeface="Open Sans Condensed" pitchFamily="2" charset="0"/>
              </a:rPr>
              <a:t>№ 273-ФЗ «Об образовании в Российской Федерации»  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368761" y="1929126"/>
            <a:ext cx="5641341" cy="1986169"/>
          </a:xfrm>
          <a:prstGeom prst="roundRect">
            <a:avLst/>
          </a:prstGeom>
          <a:noFill/>
          <a:ln w="19050">
            <a:solidFill>
              <a:srgbClr val="2845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schemeClr val="tx1"/>
                </a:solidFill>
              </a:rPr>
              <a:t>Статья 18. Печатные и электронные образовательные и информационные ресурсы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400" dirty="0">
              <a:solidFill>
                <a:schemeClr val="tx1"/>
              </a:solidFill>
            </a:endParaRPr>
          </a:p>
          <a:p>
            <a:r>
              <a:rPr lang="ru-RU" sz="1200" b="1" dirty="0">
                <a:solidFill>
                  <a:schemeClr val="tx1"/>
                </a:solidFill>
              </a:rPr>
              <a:t>4. Организации, осуществляющие образовательную деятельность </a:t>
            </a:r>
            <a:r>
              <a:rPr lang="ru-RU" sz="1200" dirty="0">
                <a:solidFill>
                  <a:schemeClr val="tx1"/>
                </a:solidFill>
              </a:rPr>
              <a:t>по имеющим государственную аккредитацию образовательным программам начального общего, основного общего, среднего общего образования, для использования при реализации указанных образовательных программ </a:t>
            </a:r>
            <a:r>
              <a:rPr lang="ru-RU" sz="1200" b="1" dirty="0">
                <a:solidFill>
                  <a:schemeClr val="tx1"/>
                </a:solidFill>
              </a:rPr>
              <a:t>используют:</a:t>
            </a:r>
            <a:endParaRPr lang="ru-RU" sz="1200" dirty="0">
              <a:solidFill>
                <a:schemeClr val="tx1"/>
              </a:solidFill>
            </a:endParaRPr>
          </a:p>
          <a:p>
            <a:r>
              <a:rPr lang="ru-RU" sz="1200" b="1" dirty="0">
                <a:solidFill>
                  <a:schemeClr val="tx1"/>
                </a:solidFill>
              </a:rPr>
              <a:t>2) учебные пособия</a:t>
            </a:r>
            <a:r>
              <a:rPr lang="ru-RU" sz="1200" dirty="0">
                <a:solidFill>
                  <a:schemeClr val="tx1"/>
                </a:solidFill>
              </a:rPr>
              <a:t>, выпущенные организациями, входящими в перечень организаций, осуществляющих выпуск учебных пособий …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368761" y="4198697"/>
            <a:ext cx="5641341" cy="1886220"/>
          </a:xfrm>
          <a:prstGeom prst="roundRect">
            <a:avLst/>
          </a:prstGeom>
          <a:noFill/>
          <a:ln w="19050">
            <a:solidFill>
              <a:srgbClr val="2845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schemeClr val="tx1"/>
                </a:solidFill>
              </a:rPr>
              <a:t>Статья 35. Пользование учебниками, учебными пособиями, средствами обучения и воспитания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1400" dirty="0">
              <a:solidFill>
                <a:schemeClr val="tx1"/>
              </a:solidFill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schemeClr val="tx1"/>
                </a:solidFill>
              </a:rPr>
              <a:t>2. Обеспечение учебниками и </a:t>
            </a:r>
            <a:r>
              <a:rPr lang="ru-RU" sz="1200" b="1" dirty="0">
                <a:solidFill>
                  <a:schemeClr val="tx1"/>
                </a:solidFill>
              </a:rPr>
              <a:t>учебными пособиями, а также учебно-методическими материалами, средствами обучения и воспитания организаций, осуществляющих образовательную деятельность</a:t>
            </a:r>
            <a:r>
              <a:rPr lang="ru-RU" sz="1200" dirty="0">
                <a:solidFill>
                  <a:schemeClr val="tx1"/>
                </a:solidFill>
              </a:rPr>
              <a:t> по основным образовательным программам, в пределах федеральных государственных образовательных стандартов … </a:t>
            </a:r>
            <a:r>
              <a:rPr lang="ru-RU" sz="1200" b="1" dirty="0">
                <a:solidFill>
                  <a:schemeClr val="tx1"/>
                </a:solidFill>
              </a:rPr>
              <a:t>осуществляется за счет бюджетных ассигнований </a:t>
            </a:r>
            <a:r>
              <a:rPr lang="ru-RU" sz="1200" dirty="0">
                <a:solidFill>
                  <a:schemeClr val="tx1"/>
                </a:solidFill>
              </a:rPr>
              <a:t>федерального бюджета, бюджетов субъектов Российской Федерации и местных бюджетов.</a:t>
            </a:r>
          </a:p>
        </p:txBody>
      </p:sp>
      <p:sp>
        <p:nvSpPr>
          <p:cNvPr id="33" name="Скругленный прямоугольник 32">
            <a:extLst>
              <a:ext uri="{FF2B5EF4-FFF2-40B4-BE49-F238E27FC236}">
                <a16:creationId xmlns:a16="http://schemas.microsoft.com/office/drawing/2014/main" id="{CFF3B865-9FE2-CDE1-7FDE-DA97129C2484}"/>
              </a:ext>
            </a:extLst>
          </p:cNvPr>
          <p:cNvSpPr/>
          <p:nvPr/>
        </p:nvSpPr>
        <p:spPr>
          <a:xfrm>
            <a:off x="6467303" y="1328329"/>
            <a:ext cx="5187136" cy="416107"/>
          </a:xfrm>
          <a:prstGeom prst="roundRect">
            <a:avLst>
              <a:gd name="adj" fmla="val 50000"/>
            </a:avLst>
          </a:prstGeom>
          <a:solidFill>
            <a:srgbClr val="28458D"/>
          </a:solidFill>
          <a:ln w="19050">
            <a:solidFill>
              <a:srgbClr val="233C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KZ"/>
          </a:p>
        </p:txBody>
      </p:sp>
      <p:sp>
        <p:nvSpPr>
          <p:cNvPr id="34" name="Прямоугольник 22">
            <a:extLst>
              <a:ext uri="{FF2B5EF4-FFF2-40B4-BE49-F238E27FC236}">
                <a16:creationId xmlns:a16="http://schemas.microsoft.com/office/drawing/2014/main" id="{9EABD744-A63C-253F-3159-F2E91F2F95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00304" y="1367812"/>
            <a:ext cx="512064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bg1"/>
                </a:solidFill>
                <a:cs typeface="Open Sans Condensed" pitchFamily="2" charset="0"/>
              </a:rPr>
              <a:t>Федеральные государственные образовательные стандарты</a:t>
            </a: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6409106" y="1929126"/>
            <a:ext cx="5245332" cy="1814649"/>
          </a:xfrm>
          <a:prstGeom prst="roundRect">
            <a:avLst/>
          </a:prstGeom>
          <a:noFill/>
          <a:ln w="19050">
            <a:solidFill>
              <a:srgbClr val="2845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1" dirty="0">
                <a:solidFill>
                  <a:schemeClr val="tx1"/>
                </a:solidFill>
              </a:rPr>
              <a:t>36.1</a:t>
            </a:r>
            <a:r>
              <a:rPr lang="ru-RU" sz="1200" baseline="30000" dirty="0">
                <a:solidFill>
                  <a:schemeClr val="tx1"/>
                </a:solidFill>
              </a:rPr>
              <a:t>1</a:t>
            </a:r>
            <a:r>
              <a:rPr lang="ru-RU" sz="1200" dirty="0">
                <a:solidFill>
                  <a:schemeClr val="tx1"/>
                </a:solidFill>
              </a:rPr>
              <a:t>. </a:t>
            </a:r>
            <a:r>
              <a:rPr lang="ru-RU" sz="1200" b="1" dirty="0">
                <a:solidFill>
                  <a:schemeClr val="tx1"/>
                </a:solidFill>
              </a:rPr>
              <a:t>Организация должна предоставлять не менее одного </a:t>
            </a:r>
            <a:r>
              <a:rPr lang="ru-RU" sz="1200" dirty="0">
                <a:solidFill>
                  <a:schemeClr val="tx1"/>
                </a:solidFill>
              </a:rPr>
              <a:t>учебника и (или) </a:t>
            </a:r>
            <a:r>
              <a:rPr lang="ru-RU" sz="1200" b="1" dirty="0">
                <a:solidFill>
                  <a:schemeClr val="tx1"/>
                </a:solidFill>
              </a:rPr>
              <a:t>учебного пособия в печатной форме, </a:t>
            </a:r>
            <a:r>
              <a:rPr lang="ru-RU" sz="1200" dirty="0">
                <a:solidFill>
                  <a:schemeClr val="tx1"/>
                </a:solidFill>
              </a:rPr>
              <a:t>… </a:t>
            </a:r>
            <a:r>
              <a:rPr lang="ru-RU" sz="1200" b="1" dirty="0">
                <a:solidFill>
                  <a:schemeClr val="tx1"/>
                </a:solidFill>
              </a:rPr>
              <a:t>на каждого обучающегося </a:t>
            </a:r>
            <a:r>
              <a:rPr lang="ru-RU" sz="1200" dirty="0">
                <a:solidFill>
                  <a:schemeClr val="tx1"/>
                </a:solidFill>
              </a:rPr>
              <a:t>по учебным предметам: русский язык, математика, окружающий мир, литературное чтение, иностранные языки, а также </a:t>
            </a:r>
            <a:r>
              <a:rPr lang="ru-RU" sz="1200" b="1" dirty="0">
                <a:solidFill>
                  <a:schemeClr val="tx1"/>
                </a:solidFill>
              </a:rPr>
              <a:t>не менее одного </a:t>
            </a:r>
            <a:r>
              <a:rPr lang="ru-RU" sz="1200" dirty="0">
                <a:solidFill>
                  <a:schemeClr val="tx1"/>
                </a:solidFill>
              </a:rPr>
              <a:t>учебника и (или) </a:t>
            </a:r>
            <a:r>
              <a:rPr lang="ru-RU" sz="1200" b="1" dirty="0">
                <a:solidFill>
                  <a:schemeClr val="tx1"/>
                </a:solidFill>
              </a:rPr>
              <a:t>учебного пособия в печатной и (или) электронной форме</a:t>
            </a:r>
            <a:r>
              <a:rPr lang="ru-RU" sz="1200" dirty="0">
                <a:solidFill>
                  <a:schemeClr val="tx1"/>
                </a:solidFill>
              </a:rPr>
              <a:t>, … </a:t>
            </a:r>
            <a:r>
              <a:rPr lang="ru-RU" sz="1200" b="1" dirty="0">
                <a:solidFill>
                  <a:schemeClr val="tx1"/>
                </a:solidFill>
              </a:rPr>
              <a:t>на каждого обучающегося по иным учебным предметам </a:t>
            </a:r>
            <a:r>
              <a:rPr lang="ru-RU" sz="1200" dirty="0">
                <a:solidFill>
                  <a:schemeClr val="tx1"/>
                </a:solidFill>
              </a:rPr>
              <a:t>(дисциплинам, курсам) входящим </a:t>
            </a:r>
            <a:r>
              <a:rPr lang="ru-RU" sz="1200" b="1" dirty="0">
                <a:solidFill>
                  <a:schemeClr val="tx1"/>
                </a:solidFill>
              </a:rPr>
              <a:t>как в обязательную часть учебного плана указанной программы, так и в часть, формируемую участниками образовательных отношений</a:t>
            </a:r>
            <a:r>
              <a:rPr lang="ru-RU" sz="12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6467296" y="4064241"/>
            <a:ext cx="5253649" cy="2020676"/>
          </a:xfrm>
          <a:prstGeom prst="roundRect">
            <a:avLst/>
          </a:prstGeom>
          <a:noFill/>
          <a:ln w="19050">
            <a:solidFill>
              <a:srgbClr val="2845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1" dirty="0">
                <a:solidFill>
                  <a:schemeClr val="tx1"/>
                </a:solidFill>
              </a:rPr>
              <a:t>37.3</a:t>
            </a:r>
            <a:r>
              <a:rPr lang="ru-RU" sz="1200" baseline="30000" dirty="0">
                <a:solidFill>
                  <a:schemeClr val="tx1"/>
                </a:solidFill>
              </a:rPr>
              <a:t>2</a:t>
            </a:r>
            <a:r>
              <a:rPr lang="ru-RU" sz="1200" b="1" dirty="0">
                <a:solidFill>
                  <a:schemeClr val="tx1"/>
                </a:solidFill>
              </a:rPr>
              <a:t>. Организация должна предоставлять не менее одного </a:t>
            </a:r>
            <a:r>
              <a:rPr lang="ru-RU" sz="1200" dirty="0">
                <a:solidFill>
                  <a:schemeClr val="tx1"/>
                </a:solidFill>
              </a:rPr>
              <a:t>учебника и (или) </a:t>
            </a:r>
            <a:r>
              <a:rPr lang="ru-RU" sz="1200" b="1" dirty="0">
                <a:solidFill>
                  <a:schemeClr val="tx1"/>
                </a:solidFill>
              </a:rPr>
              <a:t>учебного пособия </a:t>
            </a:r>
            <a:r>
              <a:rPr lang="ru-RU" sz="1200" dirty="0">
                <a:solidFill>
                  <a:schemeClr val="tx1"/>
                </a:solidFill>
              </a:rPr>
              <a:t>в печатной форме, … </a:t>
            </a:r>
            <a:r>
              <a:rPr lang="ru-RU" sz="1200" b="1" dirty="0">
                <a:solidFill>
                  <a:schemeClr val="tx1"/>
                </a:solidFill>
              </a:rPr>
              <a:t>на каждого обучающегося </a:t>
            </a:r>
            <a:r>
              <a:rPr lang="ru-RU" sz="1200" dirty="0">
                <a:solidFill>
                  <a:schemeClr val="tx1"/>
                </a:solidFill>
              </a:rPr>
              <a:t>по учебным предметам: русский язык, математика, физика, химия, биология, литература, география, история, обществознание, иностранные языки, информатика, а также </a:t>
            </a:r>
            <a:r>
              <a:rPr lang="ru-RU" sz="1200" b="1" dirty="0">
                <a:solidFill>
                  <a:schemeClr val="tx1"/>
                </a:solidFill>
              </a:rPr>
              <a:t>не менее одного</a:t>
            </a:r>
            <a:r>
              <a:rPr lang="ru-RU" sz="1200" dirty="0">
                <a:solidFill>
                  <a:schemeClr val="tx1"/>
                </a:solidFill>
              </a:rPr>
              <a:t> учебника и (или</a:t>
            </a:r>
            <a:r>
              <a:rPr lang="ru-RU" sz="1200" b="1" dirty="0">
                <a:solidFill>
                  <a:schemeClr val="tx1"/>
                </a:solidFill>
              </a:rPr>
              <a:t>) учебного пособия </a:t>
            </a:r>
            <a:r>
              <a:rPr lang="ru-RU" sz="1200" dirty="0">
                <a:solidFill>
                  <a:schemeClr val="tx1"/>
                </a:solidFill>
              </a:rPr>
              <a:t>в печатной и (или) электронной форме, … </a:t>
            </a:r>
            <a:r>
              <a:rPr lang="ru-RU" sz="1200" b="1" dirty="0">
                <a:solidFill>
                  <a:schemeClr val="tx1"/>
                </a:solidFill>
              </a:rPr>
              <a:t>на каждого обучающегося по иным учебным предметам (дисциплинам, курсам), входящим как в обязательную часть учебного плана</a:t>
            </a:r>
            <a:r>
              <a:rPr lang="ru-RU" sz="1200" dirty="0">
                <a:solidFill>
                  <a:schemeClr val="tx1"/>
                </a:solidFill>
              </a:rPr>
              <a:t> указанной программы, </a:t>
            </a:r>
            <a:r>
              <a:rPr lang="ru-RU" sz="1200" b="1" dirty="0">
                <a:solidFill>
                  <a:schemeClr val="tx1"/>
                </a:solidFill>
              </a:rPr>
              <a:t>так и в часть, формируемую участниками образовательных отношений</a:t>
            </a:r>
            <a:r>
              <a:rPr lang="ru-RU" sz="1200" dirty="0">
                <a:solidFill>
                  <a:schemeClr val="tx1"/>
                </a:solidFill>
              </a:rPr>
              <a:t>.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666807" y="6236106"/>
            <a:ext cx="33698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eriod"/>
            </a:pPr>
            <a:r>
              <a:rPr lang="ru-RU" sz="800" dirty="0"/>
              <a:t>Приказ Министерства просвещения РФ от 18 июля 2022 г. № 569</a:t>
            </a:r>
          </a:p>
          <a:p>
            <a:pPr marL="342900" indent="-342900">
              <a:buAutoNum type="arabicPeriod"/>
            </a:pPr>
            <a:r>
              <a:rPr lang="ru-RU" sz="800" dirty="0"/>
              <a:t>Приказ Министерства просвещения РФ от 18 июля 2022 г. № 568</a:t>
            </a:r>
          </a:p>
        </p:txBody>
      </p:sp>
    </p:spTree>
    <p:extLst>
      <p:ext uri="{BB962C8B-B14F-4D97-AF65-F5344CB8AC3E}">
        <p14:creationId xmlns:p14="http://schemas.microsoft.com/office/powerpoint/2010/main" val="16033926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3">
            <a:extLst>
              <a:ext uri="{FF2B5EF4-FFF2-40B4-BE49-F238E27FC236}">
                <a16:creationId xmlns:a16="http://schemas.microsoft.com/office/drawing/2014/main" id="{20D776D5-02D0-342B-83AE-AE5309E5E0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9202" y="102458"/>
            <a:ext cx="10701338" cy="10341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Учебники из Приложения 2 приказа о ФПУ будут выпускаться с 2023 года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как учебные пособия</a:t>
            </a:r>
          </a:p>
          <a:p>
            <a:pPr eaLnBrk="1" hangingPunct="1"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  </a:t>
            </a:r>
          </a:p>
        </p:txBody>
      </p:sp>
      <p:grpSp>
        <p:nvGrpSpPr>
          <p:cNvPr id="9" name="Группа 8"/>
          <p:cNvGrpSpPr/>
          <p:nvPr/>
        </p:nvGrpSpPr>
        <p:grpSpPr>
          <a:xfrm>
            <a:off x="1418897" y="1367814"/>
            <a:ext cx="2424045" cy="3280345"/>
            <a:chOff x="3447647" y="3696783"/>
            <a:chExt cx="1893749" cy="2643541"/>
          </a:xfrm>
        </p:grpSpPr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51701" y="3696783"/>
              <a:ext cx="1889695" cy="264354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7" name="Рисунок 16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00" t="-51" r="86325" b="87149"/>
            <a:stretch/>
          </p:blipFill>
          <p:spPr>
            <a:xfrm>
              <a:off x="3447647" y="3701003"/>
              <a:ext cx="167273" cy="436097"/>
            </a:xfrm>
            <a:prstGeom prst="rect">
              <a:avLst/>
            </a:prstGeom>
          </p:spPr>
        </p:pic>
      </p:grpSp>
      <p:grpSp>
        <p:nvGrpSpPr>
          <p:cNvPr id="2" name="Группа 1"/>
          <p:cNvGrpSpPr/>
          <p:nvPr/>
        </p:nvGrpSpPr>
        <p:grpSpPr>
          <a:xfrm>
            <a:off x="6585458" y="1367814"/>
            <a:ext cx="2375338" cy="3280345"/>
            <a:chOff x="6515966" y="3692563"/>
            <a:chExt cx="1938111" cy="2647761"/>
          </a:xfrm>
        </p:grpSpPr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15966" y="3696783"/>
              <a:ext cx="1938111" cy="264354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8" name="Рисунок 1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00" t="-51" r="86325" b="87149"/>
            <a:stretch/>
          </p:blipFill>
          <p:spPr>
            <a:xfrm>
              <a:off x="6568516" y="3692563"/>
              <a:ext cx="167273" cy="436097"/>
            </a:xfrm>
            <a:prstGeom prst="rect">
              <a:avLst/>
            </a:prstGeom>
          </p:spPr>
        </p:pic>
      </p:grpSp>
      <p:sp>
        <p:nvSpPr>
          <p:cNvPr id="33" name="Прямоугольник 32"/>
          <p:cNvSpPr/>
          <p:nvPr/>
        </p:nvSpPr>
        <p:spPr>
          <a:xfrm>
            <a:off x="4048620" y="2223223"/>
            <a:ext cx="233116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«Технология» Казакевич В.М., Пичугина Г.В., </a:t>
            </a:r>
            <a:r>
              <a:rPr lang="ru-RU" b="1" dirty="0" err="1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Семёнова</a:t>
            </a:r>
            <a:r>
              <a:rPr lang="ru-RU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 Г.Ю. </a:t>
            </a:r>
          </a:p>
          <a:p>
            <a:r>
              <a:rPr lang="ru-RU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и другие. </a:t>
            </a:r>
          </a:p>
          <a:p>
            <a:endParaRPr lang="ru-RU" b="1" dirty="0">
              <a:solidFill>
                <a:srgbClr val="28458D"/>
              </a:solidFill>
              <a:latin typeface="Calibri" panose="020F0502020204030204" pitchFamily="34" charset="0"/>
              <a:cs typeface="Open Sans Condensed" pitchFamily="2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9158266" y="2223223"/>
            <a:ext cx="227350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«Технология» Тищенко А.Т., Синица Н.В. </a:t>
            </a:r>
          </a:p>
        </p:txBody>
      </p:sp>
    </p:spTree>
    <p:extLst>
      <p:ext uri="{BB962C8B-B14F-4D97-AF65-F5344CB8AC3E}">
        <p14:creationId xmlns:p14="http://schemas.microsoft.com/office/powerpoint/2010/main" val="149166571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3">
            <a:extLst>
              <a:ext uri="{FF2B5EF4-FFF2-40B4-BE49-F238E27FC236}">
                <a16:creationId xmlns:a16="http://schemas.microsoft.com/office/drawing/2014/main" id="{20D776D5-02D0-342B-83AE-AE5309E5E0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9202" y="102458"/>
            <a:ext cx="10701338" cy="10341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Учебники из Приложения 2 приказа о ФПУ будут выпускаться с 2023 года</a:t>
            </a:r>
          </a:p>
          <a:p>
            <a:pPr algn="ctr"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как учебные пособия</a:t>
            </a:r>
          </a:p>
          <a:p>
            <a:pPr eaLnBrk="1" hangingPunct="1"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  </a:t>
            </a:r>
          </a:p>
        </p:txBody>
      </p:sp>
      <p:grpSp>
        <p:nvGrpSpPr>
          <p:cNvPr id="25" name="Группа 24"/>
          <p:cNvGrpSpPr/>
          <p:nvPr/>
        </p:nvGrpSpPr>
        <p:grpSpPr>
          <a:xfrm>
            <a:off x="4245439" y="1051125"/>
            <a:ext cx="2079904" cy="2595988"/>
            <a:chOff x="2628730" y="957082"/>
            <a:chExt cx="1978259" cy="2565404"/>
          </a:xfrm>
        </p:grpSpPr>
        <p:pic>
          <p:nvPicPr>
            <p:cNvPr id="24" name="Рисунок 23"/>
            <p:cNvPicPr>
              <a:picLocks noChangeAspect="1"/>
            </p:cNvPicPr>
            <p:nvPr/>
          </p:nvPicPr>
          <p:blipFill rotWithShape="1">
            <a:blip r:embed="rId3"/>
            <a:srcRect t="1554" r="1752" b="1383"/>
            <a:stretch/>
          </p:blipFill>
          <p:spPr>
            <a:xfrm>
              <a:off x="2628730" y="958830"/>
              <a:ext cx="1978259" cy="2563656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1" name="Рисунок 10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00" t="-51" r="86325" b="87149"/>
            <a:stretch/>
          </p:blipFill>
          <p:spPr>
            <a:xfrm>
              <a:off x="2661508" y="957082"/>
              <a:ext cx="178674" cy="44956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grpSp>
        <p:nvGrpSpPr>
          <p:cNvPr id="21" name="Группа 20"/>
          <p:cNvGrpSpPr/>
          <p:nvPr/>
        </p:nvGrpSpPr>
        <p:grpSpPr>
          <a:xfrm>
            <a:off x="314685" y="993728"/>
            <a:ext cx="1997478" cy="2595988"/>
            <a:chOff x="4918704" y="920376"/>
            <a:chExt cx="1997478" cy="2595988"/>
          </a:xfrm>
        </p:grpSpPr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18704" y="922237"/>
              <a:ext cx="1997478" cy="259412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4" name="Рисунок 13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00" t="-51" r="86325" b="87149"/>
            <a:stretch/>
          </p:blipFill>
          <p:spPr>
            <a:xfrm>
              <a:off x="4967262" y="920376"/>
              <a:ext cx="167273" cy="436097"/>
            </a:xfrm>
            <a:prstGeom prst="rect">
              <a:avLst/>
            </a:prstGeom>
          </p:spPr>
        </p:pic>
      </p:grpSp>
      <p:grpSp>
        <p:nvGrpSpPr>
          <p:cNvPr id="30" name="Группа 29"/>
          <p:cNvGrpSpPr/>
          <p:nvPr/>
        </p:nvGrpSpPr>
        <p:grpSpPr>
          <a:xfrm>
            <a:off x="2249269" y="3801802"/>
            <a:ext cx="1996170" cy="2592000"/>
            <a:chOff x="7403138" y="909645"/>
            <a:chExt cx="1996170" cy="2592000"/>
          </a:xfrm>
        </p:grpSpPr>
        <p:pic>
          <p:nvPicPr>
            <p:cNvPr id="29" name="Рисунок 28"/>
            <p:cNvPicPr>
              <a:picLocks noChangeAspect="1"/>
            </p:cNvPicPr>
            <p:nvPr/>
          </p:nvPicPr>
          <p:blipFill rotWithShape="1">
            <a:blip r:embed="rId6"/>
            <a:srcRect t="1299"/>
            <a:stretch/>
          </p:blipFill>
          <p:spPr>
            <a:xfrm>
              <a:off x="7403138" y="909645"/>
              <a:ext cx="1996170" cy="25920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5" name="Рисунок 14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00" t="-51" r="86325" b="87149"/>
            <a:stretch/>
          </p:blipFill>
          <p:spPr>
            <a:xfrm>
              <a:off x="7432477" y="918976"/>
              <a:ext cx="167273" cy="43609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grpSp>
        <p:nvGrpSpPr>
          <p:cNvPr id="32" name="Группа 31"/>
          <p:cNvGrpSpPr/>
          <p:nvPr/>
        </p:nvGrpSpPr>
        <p:grpSpPr>
          <a:xfrm>
            <a:off x="8313622" y="916096"/>
            <a:ext cx="1997739" cy="2592000"/>
            <a:chOff x="9862044" y="940561"/>
            <a:chExt cx="1969106" cy="2557478"/>
          </a:xfrm>
        </p:grpSpPr>
        <p:pic>
          <p:nvPicPr>
            <p:cNvPr id="31" name="Рисунок 30"/>
            <p:cNvPicPr>
              <a:picLocks noChangeAspect="1"/>
            </p:cNvPicPr>
            <p:nvPr/>
          </p:nvPicPr>
          <p:blipFill rotWithShape="1">
            <a:blip r:embed="rId7"/>
            <a:srcRect l="2845" t="1332"/>
            <a:stretch/>
          </p:blipFill>
          <p:spPr>
            <a:xfrm>
              <a:off x="9862044" y="940561"/>
              <a:ext cx="1969106" cy="255747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00" t="-51" r="86325" b="87149"/>
            <a:stretch/>
          </p:blipFill>
          <p:spPr>
            <a:xfrm>
              <a:off x="9862044" y="940561"/>
              <a:ext cx="167273" cy="43609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grpSp>
        <p:nvGrpSpPr>
          <p:cNvPr id="27" name="Группа 26"/>
          <p:cNvGrpSpPr/>
          <p:nvPr/>
        </p:nvGrpSpPr>
        <p:grpSpPr>
          <a:xfrm>
            <a:off x="6380346" y="3811133"/>
            <a:ext cx="1990721" cy="2592000"/>
            <a:chOff x="4949681" y="923300"/>
            <a:chExt cx="1990721" cy="2592000"/>
          </a:xfrm>
        </p:grpSpPr>
        <p:pic>
          <p:nvPicPr>
            <p:cNvPr id="26" name="Рисунок 25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949681" y="923300"/>
              <a:ext cx="1990721" cy="25920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28" name="Рисунок 27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00" t="-51" r="86325" b="87149"/>
            <a:stretch/>
          </p:blipFill>
          <p:spPr>
            <a:xfrm>
              <a:off x="4978314" y="924236"/>
              <a:ext cx="167273" cy="43609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sp>
        <p:nvSpPr>
          <p:cNvPr id="33" name="Прямоугольник 32"/>
          <p:cNvSpPr/>
          <p:nvPr/>
        </p:nvSpPr>
        <p:spPr>
          <a:xfrm>
            <a:off x="2482785" y="1278587"/>
            <a:ext cx="1723556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«Технология. Производство и технологии» </a:t>
            </a:r>
            <a:r>
              <a:rPr lang="ru-RU" sz="1400" b="1" dirty="0" err="1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Бешенков</a:t>
            </a:r>
            <a:r>
              <a:rPr lang="ru-RU" sz="14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 С.А., </a:t>
            </a:r>
            <a:r>
              <a:rPr lang="ru-RU" sz="1400" b="1" dirty="0" err="1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Шутикова</a:t>
            </a:r>
            <a:r>
              <a:rPr lang="ru-RU" sz="14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 М.И., Неустроев С.С., </a:t>
            </a:r>
            <a:r>
              <a:rPr lang="ru-RU" sz="1400" b="1" dirty="0" err="1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Миндзаева</a:t>
            </a:r>
            <a:r>
              <a:rPr lang="ru-RU" sz="14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 Э.В., Лабутин В.Б., </a:t>
            </a:r>
            <a:r>
              <a:rPr lang="ru-RU" sz="1400" b="1" dirty="0" err="1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Филлипов</a:t>
            </a:r>
            <a:r>
              <a:rPr lang="ru-RU" sz="14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 В.И.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6416111" y="1417425"/>
            <a:ext cx="201666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«Технология. Технологии обработки материалов, пищевых продуктов» </a:t>
            </a:r>
            <a:r>
              <a:rPr lang="ru-RU" sz="1400" b="1" dirty="0" err="1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Бешенков</a:t>
            </a:r>
            <a:r>
              <a:rPr lang="ru-RU" sz="14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 С.А., </a:t>
            </a:r>
            <a:r>
              <a:rPr lang="ru-RU" sz="1400" b="1" dirty="0" err="1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Шутикова</a:t>
            </a:r>
            <a:r>
              <a:rPr lang="ru-RU" sz="14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 М.И., Неустроев С.С., </a:t>
            </a:r>
            <a:r>
              <a:rPr lang="ru-RU" sz="1400" b="1" dirty="0" err="1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Миндзаева</a:t>
            </a:r>
            <a:r>
              <a:rPr lang="ru-RU" sz="14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 Э.В., Лабутин В.Б., </a:t>
            </a:r>
            <a:r>
              <a:rPr lang="ru-RU" sz="1400" b="1" dirty="0" err="1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Филлипов</a:t>
            </a:r>
            <a:r>
              <a:rPr lang="ru-RU" sz="14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 В.И.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8545095" y="4678177"/>
            <a:ext cx="153479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«Технология. Робототехника» Копосов Д.Г.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4369671" y="4355012"/>
            <a:ext cx="148459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«Технология. Компьютерная графика, черчение» </a:t>
            </a:r>
            <a:r>
              <a:rPr lang="ru-RU" sz="1400" b="1" dirty="0" err="1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Уханёва</a:t>
            </a:r>
            <a:r>
              <a:rPr lang="ru-RU" sz="14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 В.А., </a:t>
            </a:r>
            <a:r>
              <a:rPr lang="ru-RU" sz="1400" b="1" dirty="0" err="1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Животова</a:t>
            </a:r>
            <a:r>
              <a:rPr lang="ru-RU" sz="14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 Е.Б.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10407746" y="1627320"/>
            <a:ext cx="175057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«Технология. </a:t>
            </a:r>
          </a:p>
          <a:p>
            <a:r>
              <a:rPr lang="ru-RU" sz="14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3</a:t>
            </a:r>
            <a:r>
              <a:rPr lang="en-US" sz="14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D</a:t>
            </a:r>
            <a:r>
              <a:rPr lang="ru-RU" sz="14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-моделирование, </a:t>
            </a:r>
            <a:r>
              <a:rPr lang="ru-RU" sz="1400" b="1" dirty="0" err="1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прототипирование</a:t>
            </a:r>
            <a:r>
              <a:rPr lang="ru-RU" sz="1400" b="1" dirty="0">
                <a:solidFill>
                  <a:srgbClr val="28458D"/>
                </a:solidFill>
                <a:latin typeface="Calibri" panose="020F0502020204030204" pitchFamily="34" charset="0"/>
                <a:cs typeface="Open Sans Condensed" pitchFamily="2" charset="0"/>
              </a:rPr>
              <a:t> и макетирование» Копосов Д.Г.</a:t>
            </a:r>
          </a:p>
        </p:txBody>
      </p:sp>
    </p:spTree>
    <p:extLst>
      <p:ext uri="{BB962C8B-B14F-4D97-AF65-F5344CB8AC3E}">
        <p14:creationId xmlns:p14="http://schemas.microsoft.com/office/powerpoint/2010/main" val="36891747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3">
            <a:extLst>
              <a:ext uri="{FF2B5EF4-FFF2-40B4-BE49-F238E27FC236}">
                <a16:creationId xmlns:a16="http://schemas.microsoft.com/office/drawing/2014/main" id="{20D776D5-02D0-342B-83AE-AE5309E5E0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2893" y="157542"/>
            <a:ext cx="10701338" cy="722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Учебники и учебные пособия, которые можно использовать </a:t>
            </a:r>
          </a:p>
          <a:p>
            <a:pPr algn="ctr" eaLnBrk="1" hangingPunct="1"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в качестве вариативного модуля 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6771" y="4055743"/>
            <a:ext cx="1848994" cy="25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15" name="Группа 14"/>
          <p:cNvGrpSpPr/>
          <p:nvPr/>
        </p:nvGrpSpPr>
        <p:grpSpPr>
          <a:xfrm>
            <a:off x="4975423" y="4054885"/>
            <a:ext cx="1877794" cy="2520858"/>
            <a:chOff x="824180" y="1544262"/>
            <a:chExt cx="1877794" cy="2520858"/>
          </a:xfrm>
        </p:grpSpPr>
        <p:pic>
          <p:nvPicPr>
            <p:cNvPr id="5" name="Picture 2" descr="C:\Users\ATolmacheva\Desktop\Тесты по профориентации. 8 класс.jp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4180" y="1545120"/>
              <a:ext cx="1877794" cy="25200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Рисунок 11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00" t="-51" r="86325" b="87149"/>
            <a:stretch/>
          </p:blipFill>
          <p:spPr>
            <a:xfrm>
              <a:off x="915171" y="1544262"/>
              <a:ext cx="167273" cy="436097"/>
            </a:xfrm>
            <a:prstGeom prst="rect">
              <a:avLst/>
            </a:prstGeom>
          </p:spPr>
        </p:pic>
      </p:grpSp>
      <p:grpSp>
        <p:nvGrpSpPr>
          <p:cNvPr id="16" name="Группа 15"/>
          <p:cNvGrpSpPr/>
          <p:nvPr/>
        </p:nvGrpSpPr>
        <p:grpSpPr>
          <a:xfrm>
            <a:off x="9885177" y="4054886"/>
            <a:ext cx="1963533" cy="2520857"/>
            <a:chOff x="3675029" y="1544263"/>
            <a:chExt cx="1963533" cy="2520857"/>
          </a:xfrm>
        </p:grpSpPr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675029" y="1545120"/>
              <a:ext cx="1963533" cy="25200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3" name="Рисунок 12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00" t="-51" r="86325" b="87149"/>
            <a:stretch/>
          </p:blipFill>
          <p:spPr>
            <a:xfrm>
              <a:off x="3748604" y="1544263"/>
              <a:ext cx="167273" cy="43609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grpSp>
        <p:nvGrpSpPr>
          <p:cNvPr id="17" name="Группа 16"/>
          <p:cNvGrpSpPr/>
          <p:nvPr/>
        </p:nvGrpSpPr>
        <p:grpSpPr>
          <a:xfrm>
            <a:off x="7392875" y="4055743"/>
            <a:ext cx="2000565" cy="2520000"/>
            <a:chOff x="6611617" y="1545120"/>
            <a:chExt cx="2000565" cy="2520000"/>
          </a:xfrm>
        </p:grpSpPr>
        <p:pic>
          <p:nvPicPr>
            <p:cNvPr id="10" name="Рисунок 9"/>
            <p:cNvPicPr>
              <a:picLocks noChangeAspect="1"/>
            </p:cNvPicPr>
            <p:nvPr/>
          </p:nvPicPr>
          <p:blipFill rotWithShape="1">
            <a:blip r:embed="rId6"/>
            <a:srcRect b="1590"/>
            <a:stretch/>
          </p:blipFill>
          <p:spPr>
            <a:xfrm>
              <a:off x="6611617" y="1545120"/>
              <a:ext cx="2000565" cy="25200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14" name="Рисунок 13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00" t="-51" r="86325" b="87149"/>
            <a:stretch/>
          </p:blipFill>
          <p:spPr>
            <a:xfrm>
              <a:off x="6686245" y="1545120"/>
              <a:ext cx="167273" cy="43609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7"/>
          <a:srcRect t="4960"/>
          <a:stretch/>
        </p:blipFill>
        <p:spPr>
          <a:xfrm>
            <a:off x="362036" y="4055743"/>
            <a:ext cx="1685077" cy="25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7818" y="1124265"/>
            <a:ext cx="1864326" cy="25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6236512"/>
              </p:ext>
            </p:extLst>
          </p:nvPr>
        </p:nvGraphicFramePr>
        <p:xfrm>
          <a:off x="2720276" y="1748506"/>
          <a:ext cx="3181708" cy="14436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44575">
                  <a:extLst>
                    <a:ext uri="{9D8B030D-6E8A-4147-A177-3AD203B41FA5}">
                      <a16:colId xmlns:a16="http://schemas.microsoft.com/office/drawing/2014/main" val="3893164201"/>
                    </a:ext>
                  </a:extLst>
                </a:gridCol>
                <a:gridCol w="1154931">
                  <a:extLst>
                    <a:ext uri="{9D8B030D-6E8A-4147-A177-3AD203B41FA5}">
                      <a16:colId xmlns:a16="http://schemas.microsoft.com/office/drawing/2014/main" val="3228333915"/>
                    </a:ext>
                  </a:extLst>
                </a:gridCol>
                <a:gridCol w="897852">
                  <a:extLst>
                    <a:ext uri="{9D8B030D-6E8A-4147-A177-3AD203B41FA5}">
                      <a16:colId xmlns:a16="http://schemas.microsoft.com/office/drawing/2014/main" val="728201895"/>
                    </a:ext>
                  </a:extLst>
                </a:gridCol>
                <a:gridCol w="384350">
                  <a:extLst>
                    <a:ext uri="{9D8B030D-6E8A-4147-A177-3AD203B41FA5}">
                      <a16:colId xmlns:a16="http://schemas.microsoft.com/office/drawing/2014/main" val="4187400848"/>
                    </a:ext>
                  </a:extLst>
                </a:gridCol>
              </a:tblGrid>
              <a:tr h="28541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Номер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Наименование учебник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Автор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Классы</a:t>
                      </a:r>
                    </a:p>
                    <a:p>
                      <a:pPr algn="ctr" rtl="0" fontAlgn="ctr"/>
                      <a:endParaRPr lang="ru-RU" sz="1000" b="1" i="0" u="none" strike="noStrike" dirty="0">
                        <a:solidFill>
                          <a:srgbClr val="28458D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3452504"/>
                  </a:ext>
                </a:extLst>
              </a:tr>
              <a:tr h="37603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2.1.2.6.1.1.1.</a:t>
                      </a:r>
                    </a:p>
                  </a:txBody>
                  <a:tcPr marL="0" marR="0" marT="36012" marB="3601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Технология. Профессиональное самоопределение. Личность. Профессия. Карьера.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i="0" u="none" strike="noStrike" dirty="0">
                        <a:solidFill>
                          <a:srgbClr val="28458D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36012" marB="3601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 err="1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Резапкина</a:t>
                      </a:r>
                      <a:r>
                        <a:rPr lang="ru-RU" sz="1000" b="0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 Г.В.</a:t>
                      </a:r>
                    </a:p>
                  </a:txBody>
                  <a:tcPr marL="0" marR="0" marT="36012" marB="3601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8-9</a:t>
                      </a:r>
                    </a:p>
                  </a:txBody>
                  <a:tcPr marL="0" marR="0" marT="36012" marB="3601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1680382"/>
                  </a:ext>
                </a:extLst>
              </a:tr>
            </a:tbl>
          </a:graphicData>
        </a:graphic>
      </p:graphicFrame>
      <p:graphicFrame>
        <p:nvGraphicFramePr>
          <p:cNvPr id="19" name="Таблица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7134201"/>
              </p:ext>
            </p:extLst>
          </p:nvPr>
        </p:nvGraphicFramePr>
        <p:xfrm>
          <a:off x="8500011" y="1748506"/>
          <a:ext cx="3252027" cy="8340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61031">
                  <a:extLst>
                    <a:ext uri="{9D8B030D-6E8A-4147-A177-3AD203B41FA5}">
                      <a16:colId xmlns:a16="http://schemas.microsoft.com/office/drawing/2014/main" val="3932302755"/>
                    </a:ext>
                  </a:extLst>
                </a:gridCol>
                <a:gridCol w="864473">
                  <a:extLst>
                    <a:ext uri="{9D8B030D-6E8A-4147-A177-3AD203B41FA5}">
                      <a16:colId xmlns:a16="http://schemas.microsoft.com/office/drawing/2014/main" val="3142267532"/>
                    </a:ext>
                  </a:extLst>
                </a:gridCol>
                <a:gridCol w="1334814">
                  <a:extLst>
                    <a:ext uri="{9D8B030D-6E8A-4147-A177-3AD203B41FA5}">
                      <a16:colId xmlns:a16="http://schemas.microsoft.com/office/drawing/2014/main" val="3633717932"/>
                    </a:ext>
                  </a:extLst>
                </a:gridCol>
                <a:gridCol w="291709">
                  <a:extLst>
                    <a:ext uri="{9D8B030D-6E8A-4147-A177-3AD203B41FA5}">
                      <a16:colId xmlns:a16="http://schemas.microsoft.com/office/drawing/2014/main" val="3238654380"/>
                    </a:ext>
                  </a:extLst>
                </a:gridCol>
              </a:tblGrid>
              <a:tr h="28541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Номер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Наименование учебник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Автор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Классы</a:t>
                      </a:r>
                    </a:p>
                    <a:p>
                      <a:pPr algn="ctr" rtl="0" fontAlgn="ctr"/>
                      <a:endParaRPr lang="ru-RU" sz="1000" b="1" i="0" u="none" strike="noStrike" dirty="0">
                        <a:solidFill>
                          <a:srgbClr val="28458D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8971524"/>
                  </a:ext>
                </a:extLst>
              </a:tr>
              <a:tr h="37603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2.1.2.5.1.1.1.</a:t>
                      </a:r>
                    </a:p>
                  </a:txBody>
                  <a:tcPr marL="0" marR="0" marT="36012" marB="3601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Черчение</a:t>
                      </a:r>
                    </a:p>
                  </a:txBody>
                  <a:tcPr marL="0" marR="0" marT="36012" marB="3601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Преображенская Н.Г, </a:t>
                      </a:r>
                      <a:r>
                        <a:rPr lang="ru-RU" sz="1000" b="0" i="0" u="none" strike="noStrike" dirty="0" err="1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Кодукова</a:t>
                      </a:r>
                      <a:r>
                        <a:rPr lang="ru-RU" sz="1000" b="0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 И.В.</a:t>
                      </a:r>
                    </a:p>
                  </a:txBody>
                  <a:tcPr marL="0" marR="0" marT="36012" marB="3601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>
                          <a:solidFill>
                            <a:srgbClr val="28458D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0" marR="0" marT="36012" marB="36012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2366613"/>
                  </a:ext>
                </a:extLst>
              </a:tr>
            </a:tbl>
          </a:graphicData>
        </a:graphic>
      </p:graphicFrame>
      <p:pic>
        <p:nvPicPr>
          <p:cNvPr id="9" name="Рисунок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48083" y="1208120"/>
            <a:ext cx="1887470" cy="25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4042981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9926" y="567781"/>
            <a:ext cx="4084488" cy="5609272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30400" y="1565910"/>
            <a:ext cx="5180211" cy="4504980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5"/>
          <a:srcRect l="13998" t="19855" r="16379" b="23754"/>
          <a:stretch/>
        </p:blipFill>
        <p:spPr>
          <a:xfrm>
            <a:off x="8663940" y="492369"/>
            <a:ext cx="2960370" cy="1348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7428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Grp="1" noChangeAspect="1"/>
          </p:cNvPicPr>
          <p:nvPr>
            <p:ph idx="4294967295"/>
          </p:nvPr>
        </p:nvPicPr>
        <p:blipFill>
          <a:blip r:embed="rId2"/>
          <a:stretch>
            <a:fillRect/>
          </a:stretch>
        </p:blipFill>
        <p:spPr>
          <a:xfrm>
            <a:off x="509954" y="531911"/>
            <a:ext cx="4159250" cy="583088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55852" y="1206992"/>
            <a:ext cx="5973786" cy="519380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89720" y="496743"/>
            <a:ext cx="2468518" cy="1122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37646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328" y="81911"/>
            <a:ext cx="3884695" cy="495785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8760" y="1269376"/>
            <a:ext cx="3600400" cy="4765473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40016" y="188640"/>
            <a:ext cx="4141791" cy="5332894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39612" y="1966243"/>
            <a:ext cx="3280496" cy="4355523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6"/>
          <a:srcRect l="3384" t="17390" r="73155" b="11663"/>
          <a:stretch/>
        </p:blipFill>
        <p:spPr>
          <a:xfrm>
            <a:off x="1045168" y="4634843"/>
            <a:ext cx="1413164" cy="177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66949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3107" y="1300355"/>
            <a:ext cx="4237363" cy="5248406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64280" y="627948"/>
            <a:ext cx="4389613" cy="2768525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41078" y="2933788"/>
            <a:ext cx="4411424" cy="2033791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14684" y="454047"/>
            <a:ext cx="4194463" cy="2132069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6"/>
          <a:srcRect r="4297"/>
          <a:stretch/>
        </p:blipFill>
        <p:spPr>
          <a:xfrm>
            <a:off x="3506605" y="3976574"/>
            <a:ext cx="4461603" cy="1971773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7"/>
          <a:srcRect l="77448" t="17390" b="11663"/>
          <a:stretch/>
        </p:blipFill>
        <p:spPr>
          <a:xfrm>
            <a:off x="6443267" y="2742211"/>
            <a:ext cx="1358376" cy="1773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1987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/>
          <p:nvPr/>
        </p:nvPicPr>
        <p:blipFill rotWithShape="1">
          <a:blip r:embed="rId2"/>
          <a:srcRect l="33687" t="15853" r="34607" b="14569"/>
          <a:stretch/>
        </p:blipFill>
        <p:spPr bwMode="auto">
          <a:xfrm>
            <a:off x="3514647" y="1049149"/>
            <a:ext cx="4232253" cy="496855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8" name="Рисунок 7"/>
          <p:cNvPicPr/>
          <p:nvPr/>
        </p:nvPicPr>
        <p:blipFill rotWithShape="1">
          <a:blip r:embed="rId3"/>
          <a:srcRect l="33564" t="25982" r="36464" b="5101"/>
          <a:stretch/>
        </p:blipFill>
        <p:spPr bwMode="auto">
          <a:xfrm>
            <a:off x="7876210" y="836883"/>
            <a:ext cx="3744416" cy="525658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7070" y="836883"/>
            <a:ext cx="3110106" cy="240851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5"/>
          <a:srcRect l="27015" t="14857" r="49385" b="6571"/>
          <a:stretch/>
        </p:blipFill>
        <p:spPr>
          <a:xfrm rot="21417353">
            <a:off x="1037215" y="3870036"/>
            <a:ext cx="1403928" cy="1939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7672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3A3322F-819C-4BF2-BB05-36A23EF253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FFC7C6EE-55E4-45B7-858E-4F4DC5C56590}"/>
              </a:ext>
            </a:extLst>
          </p:cNvPr>
          <p:cNvSpPr/>
          <p:nvPr/>
        </p:nvSpPr>
        <p:spPr>
          <a:xfrm>
            <a:off x="2583808" y="511728"/>
            <a:ext cx="6065241" cy="60529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8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ИНИСТЕРСТВО ПРОСВЕЩЕНИЯ РОССИЙСКОЙ ФЕДЕРАЦИИ</a:t>
            </a:r>
          </a:p>
          <a:p>
            <a:pPr algn="ctr">
              <a:spcAft>
                <a:spcPts val="0"/>
              </a:spcAft>
            </a:pPr>
            <a:r>
              <a:rPr lang="ru-RU" sz="8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ctr">
              <a:spcAft>
                <a:spcPts val="0"/>
              </a:spcAft>
            </a:pPr>
            <a:r>
              <a:rPr lang="ru-RU" sz="8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ЕПАРТАМЕНТ ГОСУДАРСТВЕННОЙ ПОЛИТИКИ И УПРАВЛЕНИЯ В СФЕРЕ</a:t>
            </a:r>
          </a:p>
          <a:p>
            <a:pPr algn="ctr">
              <a:spcAft>
                <a:spcPts val="0"/>
              </a:spcAft>
            </a:pPr>
            <a:r>
              <a:rPr lang="ru-RU" sz="8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ЩЕГО ОБРАЗОВАНИЯ</a:t>
            </a:r>
          </a:p>
          <a:p>
            <a:pPr algn="ctr">
              <a:spcAft>
                <a:spcPts val="0"/>
              </a:spcAft>
            </a:pPr>
            <a:r>
              <a:rPr lang="ru-RU" sz="8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ctr">
              <a:spcAft>
                <a:spcPts val="0"/>
              </a:spcAft>
            </a:pPr>
            <a:r>
              <a:rPr lang="ru-RU" sz="8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ИСЬМО</a:t>
            </a:r>
          </a:p>
          <a:p>
            <a:pPr algn="ctr">
              <a:spcAft>
                <a:spcPts val="0"/>
              </a:spcAft>
            </a:pPr>
            <a:r>
              <a:rPr lang="ru-RU" sz="8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т 1 марта 2023 г. N 03-312</a:t>
            </a:r>
          </a:p>
          <a:p>
            <a:pPr algn="ctr">
              <a:spcAft>
                <a:spcPts val="0"/>
              </a:spcAft>
            </a:pPr>
            <a:r>
              <a:rPr lang="ru-RU" sz="8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ctr">
              <a:spcAft>
                <a:spcPts val="0"/>
              </a:spcAft>
            </a:pPr>
            <a:r>
              <a:rPr lang="ru-RU" sz="800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 НАПРАВЛЕНИИ ИНФОРМАЦИИ</a:t>
            </a:r>
          </a:p>
          <a:p>
            <a:pPr algn="just">
              <a:spcAft>
                <a:spcPts val="0"/>
              </a:spcAft>
            </a:pPr>
            <a:r>
              <a:rPr lang="ru-RU" sz="1200" dirty="0">
                <a:latin typeface="Arial" panose="020B0604020202020204" pitchFamily="34" charset="0"/>
                <a:ea typeface="Times New Roman" panose="02020603050405020304" pitchFamily="18" charset="0"/>
              </a:rPr>
              <a:t> </a:t>
            </a:r>
          </a:p>
          <a:p>
            <a:pPr indent="342900" algn="just">
              <a:spcAft>
                <a:spcPts val="0"/>
              </a:spcAft>
            </a:pPr>
            <a:endParaRPr lang="ru-RU" sz="900" dirty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indent="342900" algn="just">
              <a:spcAft>
                <a:spcPts val="0"/>
              </a:spcAft>
            </a:pPr>
            <a:endParaRPr lang="ru-RU" sz="900" dirty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indent="342900" algn="just">
              <a:spcAft>
                <a:spcPts val="0"/>
              </a:spcAft>
            </a:pPr>
            <a:endParaRPr lang="ru-RU" sz="900" dirty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indent="342900" algn="just">
              <a:spcAft>
                <a:spcPts val="0"/>
              </a:spcAft>
            </a:pPr>
            <a:r>
              <a:rPr lang="ru-RU" sz="900" dirty="0">
                <a:latin typeface="Arial" panose="020B0604020202020204" pitchFamily="34" charset="0"/>
                <a:ea typeface="Times New Roman" panose="02020603050405020304" pitchFamily="18" charset="0"/>
              </a:rPr>
              <a:t>По вопросу о применении примерной основной образовательной </a:t>
            </a:r>
            <a:r>
              <a:rPr lang="ru-RU" sz="900" dirty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hlinkClick r:id="rId2" tooltip="&quot;Примерная основная образовательная программа основного общего образования&quot; (одобрена решением Федерального учебно-методического объединения по общему образованию, протокол от 15.09.2022 N 6/22) {КонсультантПлюс}"/>
              </a:rPr>
              <a:t>программы</a:t>
            </a:r>
            <a:r>
              <a:rPr lang="ru-RU" sz="900" dirty="0">
                <a:latin typeface="Arial" panose="020B0604020202020204" pitchFamily="34" charset="0"/>
                <a:ea typeface="Times New Roman" panose="02020603050405020304" pitchFamily="18" charset="0"/>
              </a:rPr>
              <a:t> основного общего образования (далее - ПООП ООО) Департамент государственной политики и управления в сфере общего образования (далее - Департамент) разъясняет.</a:t>
            </a:r>
          </a:p>
          <a:p>
            <a:pPr indent="342900" algn="just">
              <a:spcBef>
                <a:spcPts val="1000"/>
              </a:spcBef>
              <a:spcAft>
                <a:spcPts val="0"/>
              </a:spcAft>
            </a:pPr>
            <a:r>
              <a:rPr lang="ru-RU" sz="900" dirty="0">
                <a:latin typeface="Arial" panose="020B0604020202020204" pitchFamily="34" charset="0"/>
                <a:ea typeface="Times New Roman" panose="02020603050405020304" pitchFamily="18" charset="0"/>
              </a:rPr>
              <a:t>В настоящее время применяется </a:t>
            </a:r>
            <a:r>
              <a:rPr lang="ru-RU" sz="900" dirty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hlinkClick r:id="rId2" tooltip="&quot;Примерная основная образовательная программа основного общего образования&quot; (одобрена решением Федерального учебно-методического объединения по общему образованию, протокол от 15.09.2022 N 6/22) {КонсультантПлюс}"/>
              </a:rPr>
              <a:t>ПООП ООО</a:t>
            </a:r>
            <a:r>
              <a:rPr lang="ru-RU" sz="900" dirty="0">
                <a:latin typeface="Arial" panose="020B0604020202020204" pitchFamily="34" charset="0"/>
                <a:ea typeface="Times New Roman" panose="02020603050405020304" pitchFamily="18" charset="0"/>
              </a:rPr>
              <a:t>, одобренная решением федерального учебно-методического объединения по общему образованию (протокол от 15 сентября 2022 г. N 6/22 (далее - протокол).</a:t>
            </a:r>
          </a:p>
          <a:p>
            <a:pPr indent="342900" algn="just">
              <a:spcBef>
                <a:spcPts val="1000"/>
              </a:spcBef>
              <a:spcAft>
                <a:spcPts val="0"/>
              </a:spcAft>
            </a:pPr>
            <a:r>
              <a:rPr lang="ru-RU" sz="900" dirty="0">
                <a:latin typeface="Arial" panose="020B0604020202020204" pitchFamily="34" charset="0"/>
                <a:ea typeface="Times New Roman" panose="02020603050405020304" pitchFamily="18" charset="0"/>
              </a:rPr>
              <a:t>Согласно пункту 2.2 протокола федеральное учебно-методическое объединение по общему образованию приняло решение одобрить </a:t>
            </a:r>
            <a:r>
              <a:rPr lang="ru-RU" sz="900" dirty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hlinkClick r:id="rId2" tooltip="&quot;Примерная основная образовательная программа основного общего образования&quot; (одобрена решением Федерального учебно-методического объединения по общему образованию, протокол от 15.09.2022 N 6/22) {КонсультантПлюс}"/>
              </a:rPr>
              <a:t>ПООП ООО</a:t>
            </a:r>
            <a:r>
              <a:rPr lang="ru-RU" sz="900" dirty="0">
                <a:latin typeface="Arial" panose="020B0604020202020204" pitchFamily="34" charset="0"/>
                <a:ea typeface="Times New Roman" panose="02020603050405020304" pitchFamily="18" charset="0"/>
              </a:rPr>
              <a:t>, исключив из реестра примерных основных общеобразовательных программ предыдущую соответствующую примерную основную образовательную программу.</a:t>
            </a:r>
          </a:p>
          <a:p>
            <a:pPr indent="342900" algn="just">
              <a:spcBef>
                <a:spcPts val="1000"/>
              </a:spcBef>
              <a:spcAft>
                <a:spcPts val="0"/>
              </a:spcAft>
            </a:pPr>
            <a:r>
              <a:rPr lang="ru-RU" sz="900" dirty="0">
                <a:latin typeface="Arial" panose="020B0604020202020204" pitchFamily="34" charset="0"/>
                <a:ea typeface="Times New Roman" panose="02020603050405020304" pitchFamily="18" charset="0"/>
              </a:rPr>
              <a:t>При этом необходимо иметь в виду, что на основании </a:t>
            </a:r>
            <a:r>
              <a:rPr lang="ru-RU" sz="900" dirty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hlinkClick r:id="rId3" tooltip="Федеральный закон от 29.12.2012 N 273-ФЗ (ред. от 17.02.2023) &quot;Об образовании в Российской Федерации&quot; (с изм. и доп., вступ. в силу с 28.02.2023) {КонсультантПлюс}"/>
              </a:rPr>
              <a:t>статей 12</a:t>
            </a:r>
            <a:r>
              <a:rPr lang="ru-RU" sz="900" dirty="0">
                <a:latin typeface="Arial" panose="020B0604020202020204" pitchFamily="34" charset="0"/>
                <a:ea typeface="Times New Roman" panose="02020603050405020304" pitchFamily="18" charset="0"/>
              </a:rPr>
              <a:t> и </a:t>
            </a:r>
            <a:r>
              <a:rPr lang="ru-RU" sz="900" dirty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hlinkClick r:id="rId4" tooltip="Федеральный закон от 29.12.2012 N 273-ФЗ (ред. от 17.02.2023) &quot;Об образовании в Российской Федерации&quot; (с изм. и доп., вступ. в силу с 28.02.2023) {КонсультантПлюс}"/>
              </a:rPr>
              <a:t>28</a:t>
            </a:r>
            <a:r>
              <a:rPr lang="ru-RU" sz="900" dirty="0">
                <a:latin typeface="Arial" panose="020B0604020202020204" pitchFamily="34" charset="0"/>
                <a:ea typeface="Times New Roman" panose="02020603050405020304" pitchFamily="18" charset="0"/>
              </a:rPr>
              <a:t> Федерального закона от 29 декабря 2012 г. N 273-ФЗ "Об образовании в Российской Федерации" содержание образования определяется образовательными программами, которые самостоятельно разрабатывались организациями, осуществляющими образовательную деятельность по имеющим государственную аккредитацию образовательным программам (далее - образовательные организации), в соответствии с федеральными государственными образовательными </a:t>
            </a:r>
            <a:r>
              <a:rPr lang="ru-RU" sz="900" dirty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hlinkClick r:id="rId5" tooltip="Справочная информация: &quot;Федеральные образовательные программы, федеральные государственные образовательные стандарты, дополнительные профессиональные программы&quot; (Материал подготовлен специалистами КонсультантПлюс) {КонсультантПлюс}"/>
              </a:rPr>
              <a:t>стандартами</a:t>
            </a:r>
            <a:r>
              <a:rPr lang="ru-RU" sz="900" dirty="0">
                <a:latin typeface="Arial" panose="020B0604020202020204" pitchFamily="34" charset="0"/>
                <a:ea typeface="Times New Roman" panose="02020603050405020304" pitchFamily="18" charset="0"/>
              </a:rPr>
              <a:t> и с учетом соответствующих примерных основных образовательных программ (с 1 сентября 2023 г. в соответствии с федеральными государственными образовательными стандартами и соответствующими федеральными основными общеобразовательными программами).</a:t>
            </a:r>
          </a:p>
          <a:p>
            <a:pPr indent="342900" algn="just">
              <a:spcBef>
                <a:spcPts val="1000"/>
              </a:spcBef>
              <a:spcAft>
                <a:spcPts val="0"/>
              </a:spcAft>
            </a:pPr>
            <a:r>
              <a:rPr lang="ru-RU" sz="900" dirty="0">
                <a:latin typeface="Arial" panose="020B0604020202020204" pitchFamily="34" charset="0"/>
                <a:ea typeface="Times New Roman" panose="02020603050405020304" pitchFamily="18" charset="0"/>
              </a:rPr>
              <a:t>Так, в случае если образовательная организация разработала образовательную программу в соответствии с </a:t>
            </a:r>
            <a:r>
              <a:rPr lang="ru-RU" sz="900" dirty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hlinkClick r:id="rId6" tooltip="&quot;Примерная основная образовательная программа основного общего образования&quot; (одобрена решением федерального учебно-методического объединения по общему образованию, протокол от 18.03.2022 N 1/22) {КонсультантПлюс}"/>
              </a:rPr>
              <a:t>ПООП ООО</a:t>
            </a:r>
            <a:r>
              <a:rPr lang="ru-RU" sz="900" dirty="0">
                <a:latin typeface="Arial" panose="020B0604020202020204" pitchFamily="34" charset="0"/>
                <a:ea typeface="Times New Roman" panose="02020603050405020304" pitchFamily="18" charset="0"/>
              </a:rPr>
              <a:t> (протокол от 18 марта 2022 г. N 1/22) до принятия действующей редакции </a:t>
            </a:r>
            <a:r>
              <a:rPr lang="ru-RU" sz="900" dirty="0">
                <a:solidFill>
                  <a:srgbClr val="0000FF"/>
                </a:solidFill>
                <a:latin typeface="Arial" panose="020B0604020202020204" pitchFamily="34" charset="0"/>
                <a:ea typeface="Times New Roman" panose="02020603050405020304" pitchFamily="18" charset="0"/>
                <a:hlinkClick r:id="rId7" tooltip="&quot;Примерная основная образовательная программа основного общего образования&quot; (одобрена решением Федерального учебно-методического объединения по общему образованию, протокол от 15.09.2022 N 6/22) {КонсультантПлюс}"/>
              </a:rPr>
              <a:t>ПООП ООО</a:t>
            </a:r>
            <a:r>
              <a:rPr lang="ru-RU" sz="900" dirty="0">
                <a:latin typeface="Arial" panose="020B0604020202020204" pitchFamily="34" charset="0"/>
                <a:ea typeface="Times New Roman" panose="02020603050405020304" pitchFamily="18" charset="0"/>
              </a:rPr>
              <a:t>, она имеет право завершить образовательный процесс в соответствии с разработанной образовательной программой.</a:t>
            </a:r>
          </a:p>
          <a:p>
            <a:pPr algn="just">
              <a:spcAft>
                <a:spcPts val="0"/>
              </a:spcAft>
            </a:pPr>
            <a:r>
              <a:rPr lang="ru-RU" sz="900" dirty="0">
                <a:latin typeface="Arial" panose="020B0604020202020204" pitchFamily="34" charset="0"/>
                <a:ea typeface="Times New Roman" panose="02020603050405020304" pitchFamily="18" charset="0"/>
              </a:rPr>
              <a:t> </a:t>
            </a:r>
          </a:p>
          <a:p>
            <a:pPr algn="r">
              <a:spcAft>
                <a:spcPts val="0"/>
              </a:spcAft>
            </a:pPr>
            <a:r>
              <a:rPr lang="ru-RU" sz="900" dirty="0">
                <a:latin typeface="Arial" panose="020B0604020202020204" pitchFamily="34" charset="0"/>
                <a:ea typeface="Times New Roman" panose="02020603050405020304" pitchFamily="18" charset="0"/>
              </a:rPr>
              <a:t>Заместитель директора Департамента</a:t>
            </a:r>
          </a:p>
          <a:p>
            <a:pPr algn="r">
              <a:spcAft>
                <a:spcPts val="0"/>
              </a:spcAft>
            </a:pPr>
            <a:r>
              <a:rPr lang="ru-RU" sz="900" dirty="0">
                <a:latin typeface="Arial" panose="020B0604020202020204" pitchFamily="34" charset="0"/>
                <a:ea typeface="Times New Roman" panose="02020603050405020304" pitchFamily="18" charset="0"/>
              </a:rPr>
              <a:t>А.А.ТИМОФЕЕВА</a:t>
            </a:r>
          </a:p>
          <a:p>
            <a:pPr algn="just">
              <a:spcAft>
                <a:spcPts val="0"/>
              </a:spcAft>
            </a:pPr>
            <a:r>
              <a:rPr lang="ru-RU" sz="900" dirty="0">
                <a:latin typeface="Arial" panose="020B0604020202020204" pitchFamily="34" charset="0"/>
                <a:ea typeface="Times New Roman" panose="02020603050405020304" pitchFamily="18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8693324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Grp="1" noChangeAspect="1"/>
          </p:cNvPicPr>
          <p:nvPr>
            <p:ph idx="4294967295"/>
          </p:nvPr>
        </p:nvPicPr>
        <p:blipFill rotWithShape="1">
          <a:blip r:embed="rId2"/>
          <a:srcRect b="4571"/>
          <a:stretch/>
        </p:blipFill>
        <p:spPr>
          <a:xfrm>
            <a:off x="6855556" y="595803"/>
            <a:ext cx="4184650" cy="5726112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1550" y="1584893"/>
            <a:ext cx="5499694" cy="478161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613" y="499545"/>
            <a:ext cx="2494917" cy="1134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88989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952013674" name="Объект 2"/>
          <p:cNvSpPr>
            <a:spLocks noGrp="1"/>
          </p:cNvSpPr>
          <p:nvPr>
            <p:ph idx="4294967295"/>
          </p:nvPr>
        </p:nvSpPr>
        <p:spPr bwMode="auto">
          <a:xfrm>
            <a:off x="624254" y="926246"/>
            <a:ext cx="10972800" cy="5014912"/>
          </a:xfrm>
        </p:spPr>
        <p:txBody>
          <a:bodyPr vertOverflow="overflow" horzOverflow="clip" vert="horz" wrap="square" lIns="91440" tIns="45720" rIns="91440" bIns="45720" numCol="1" spcCol="0" rtlCol="0" fromWordArt="0" anchor="t" anchorCtr="0" forceAA="0" compatLnSpc="0">
            <a:normAutofit/>
          </a:bodyPr>
          <a:lstStyle/>
          <a:p>
            <a:pPr marL="0" indent="0">
              <a:buFont typeface="Arial"/>
              <a:buNone/>
              <a:defRPr/>
            </a:pPr>
            <a:r>
              <a:rPr lang="ru-RU" sz="2400" b="1" i="0" u="none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Составитель рабочей программы имеет право самостоятельно:</a:t>
            </a:r>
          </a:p>
          <a:p>
            <a:pPr>
              <a:buFont typeface="Arial"/>
              <a:buChar char="–"/>
              <a:defRPr/>
            </a:pPr>
            <a:r>
              <a:rPr lang="ru-RU" sz="2400" b="0" i="0" u="none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дополнить перечень изучаемых тем, понятий в рамках модуля;</a:t>
            </a:r>
          </a:p>
          <a:p>
            <a:pPr>
              <a:buFont typeface="Arial"/>
              <a:buChar char="–"/>
              <a:defRPr/>
            </a:pPr>
            <a:r>
              <a:rPr lang="ru-RU" sz="2400" b="0" i="0" u="none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устанавливать последовательность изучения учебного материала (например, с учетом структуры используемого УМК, учебного пособия);</a:t>
            </a:r>
          </a:p>
          <a:p>
            <a:pPr>
              <a:buFont typeface="Arial"/>
              <a:buChar char="–"/>
              <a:defRPr/>
            </a:pPr>
            <a:r>
              <a:rPr lang="ru-RU" sz="2400" b="0" i="0" u="none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корректировать объем учебного времени, отводимого на изучение отдельных модулей Примерной программы, исходя из степени сложности усвоения материала учащимися, с учетом материально-технической базы;</a:t>
            </a:r>
          </a:p>
          <a:p>
            <a:pPr>
              <a:buFont typeface="Arial"/>
              <a:buChar char="–"/>
              <a:defRPr/>
            </a:pPr>
            <a:r>
              <a:rPr lang="ru-RU" sz="2400" b="0" i="0" u="none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конкретизировать требования к результатам освоения основной образовательной программы учащимися (следует учесть, что планируемые результаты не должны быть ниже заявленных в федеральном государственном образовательном стандарте и Примерной программе);</a:t>
            </a:r>
          </a:p>
          <a:p>
            <a:pPr>
              <a:buFont typeface="Arial"/>
              <a:buChar char="–"/>
              <a:defRPr/>
            </a:pPr>
            <a:r>
              <a:rPr lang="ru-RU" sz="2400" b="0" i="0" u="none" dirty="0">
                <a:solidFill>
                  <a:srgbClr val="000000"/>
                </a:solidFill>
                <a:latin typeface="Times New Roman"/>
                <a:ea typeface="Times New Roman"/>
                <a:cs typeface="Times New Roman"/>
              </a:rPr>
              <a:t>выбирать методики, технологии обучения и диагностики уровня подготовленности обучающихся, виды контроля.</a:t>
            </a:r>
            <a:endParaRPr lang="ru-RU" sz="1400" b="0" i="0" u="none" dirty="0">
              <a:solidFill>
                <a:srgbClr val="000000"/>
              </a:solidFill>
              <a:latin typeface="Times New Roman"/>
              <a:ea typeface="Times New Roma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74867746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 rot="10800000" flipV="1">
            <a:off x="838200" y="1258530"/>
            <a:ext cx="10515600" cy="181650"/>
          </a:xfrm>
        </p:spPr>
        <p:txBody>
          <a:bodyPr>
            <a:normAutofit fontScale="90000"/>
          </a:bodyPr>
          <a:lstStyle/>
          <a:p>
            <a:pPr algn="ctr"/>
            <a:r>
              <a:rPr lang="ru-RU" b="1" dirty="0"/>
              <a:t>ЭЛЕКТРОННЫЕ ОБРАЗОВАТЕЛЬНЫЕ РЕСУРСЫ</a:t>
            </a:r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90080" y="2076318"/>
            <a:ext cx="9211839" cy="4290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40724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Grp="1" noChangeAspect="1"/>
          </p:cNvPicPr>
          <p:nvPr>
            <p:ph idx="4294967295"/>
          </p:nvPr>
        </p:nvPicPr>
        <p:blipFill>
          <a:blip r:embed="rId2"/>
          <a:stretch>
            <a:fillRect/>
          </a:stretch>
        </p:blipFill>
        <p:spPr>
          <a:xfrm>
            <a:off x="1087778" y="497126"/>
            <a:ext cx="9550913" cy="5815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25652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28CC2E83-C6DD-FFCF-57C7-3A618CD6EF35}"/>
              </a:ext>
            </a:extLst>
          </p:cNvPr>
          <p:cNvSpPr/>
          <p:nvPr/>
        </p:nvSpPr>
        <p:spPr>
          <a:xfrm>
            <a:off x="5508625" y="0"/>
            <a:ext cx="66833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grpSp>
        <p:nvGrpSpPr>
          <p:cNvPr id="56322" name="Группа 57">
            <a:extLst>
              <a:ext uri="{FF2B5EF4-FFF2-40B4-BE49-F238E27FC236}">
                <a16:creationId xmlns:a16="http://schemas.microsoft.com/office/drawing/2014/main" id="{BFC8662B-247E-7E8D-D739-43B5B88D902D}"/>
              </a:ext>
            </a:extLst>
          </p:cNvPr>
          <p:cNvGrpSpPr>
            <a:grpSpLocks/>
          </p:cNvGrpSpPr>
          <p:nvPr/>
        </p:nvGrpSpPr>
        <p:grpSpPr bwMode="auto">
          <a:xfrm>
            <a:off x="479425" y="2567940"/>
            <a:ext cx="4527550" cy="3290888"/>
            <a:chOff x="1496547" y="2503906"/>
            <a:chExt cx="9198907" cy="2809964"/>
          </a:xfrm>
        </p:grpSpPr>
        <p:sp>
          <p:nvSpPr>
            <p:cNvPr id="43" name="Скругленный прямоугольник 42">
              <a:extLst>
                <a:ext uri="{FF2B5EF4-FFF2-40B4-BE49-F238E27FC236}">
                  <a16:creationId xmlns:a16="http://schemas.microsoft.com/office/drawing/2014/main" id="{7BB6B25C-87C7-FD52-02E8-960DD4D9044D}"/>
                </a:ext>
              </a:extLst>
            </p:cNvPr>
            <p:cNvSpPr/>
            <p:nvPr/>
          </p:nvSpPr>
          <p:spPr>
            <a:xfrm rot="5400000">
              <a:off x="7692898" y="2311313"/>
              <a:ext cx="1405660" cy="4599454"/>
            </a:xfrm>
            <a:prstGeom prst="roundRect">
              <a:avLst/>
            </a:prstGeom>
            <a:solidFill>
              <a:srgbClr val="28458D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KZ"/>
            </a:p>
          </p:txBody>
        </p:sp>
        <p:sp>
          <p:nvSpPr>
            <p:cNvPr id="48" name="Скругленный прямоугольник 47">
              <a:extLst>
                <a:ext uri="{FF2B5EF4-FFF2-40B4-BE49-F238E27FC236}">
                  <a16:creationId xmlns:a16="http://schemas.microsoft.com/office/drawing/2014/main" id="{C9FFDA81-172B-5389-E762-2BAF3BB5045E}"/>
                </a:ext>
              </a:extLst>
            </p:cNvPr>
            <p:cNvSpPr/>
            <p:nvPr/>
          </p:nvSpPr>
          <p:spPr>
            <a:xfrm rot="5400000">
              <a:off x="7692898" y="907009"/>
              <a:ext cx="1405660" cy="4599454"/>
            </a:xfrm>
            <a:prstGeom prst="roundRect">
              <a:avLst/>
            </a:prstGeom>
            <a:solidFill>
              <a:srgbClr val="28458D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KZ"/>
            </a:p>
          </p:txBody>
        </p:sp>
        <p:grpSp>
          <p:nvGrpSpPr>
            <p:cNvPr id="56363" name="Группа 48">
              <a:extLst>
                <a:ext uri="{FF2B5EF4-FFF2-40B4-BE49-F238E27FC236}">
                  <a16:creationId xmlns:a16="http://schemas.microsoft.com/office/drawing/2014/main" id="{AC503EB6-1426-D2F4-5641-7FBAA4A8125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96547" y="2503906"/>
              <a:ext cx="4599454" cy="2809963"/>
              <a:chOff x="880332" y="2592942"/>
              <a:chExt cx="4599454" cy="2809963"/>
            </a:xfrm>
          </p:grpSpPr>
          <p:sp>
            <p:nvSpPr>
              <p:cNvPr id="55" name="Скругленный прямоугольник 54">
                <a:extLst>
                  <a:ext uri="{FF2B5EF4-FFF2-40B4-BE49-F238E27FC236}">
                    <a16:creationId xmlns:a16="http://schemas.microsoft.com/office/drawing/2014/main" id="{BB528F32-6D72-569E-5D76-C004AF64FC40}"/>
                  </a:ext>
                </a:extLst>
              </p:cNvPr>
              <p:cNvSpPr/>
              <p:nvPr/>
            </p:nvSpPr>
            <p:spPr>
              <a:xfrm rot="16200000">
                <a:off x="2477230" y="996045"/>
                <a:ext cx="1405660" cy="4599454"/>
              </a:xfrm>
              <a:prstGeom prst="roundRect">
                <a:avLst/>
              </a:prstGeom>
              <a:solidFill>
                <a:srgbClr val="28458D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KZ"/>
              </a:p>
            </p:txBody>
          </p:sp>
          <p:sp>
            <p:nvSpPr>
              <p:cNvPr id="52" name="Скругленный прямоугольник 51">
                <a:extLst>
                  <a:ext uri="{FF2B5EF4-FFF2-40B4-BE49-F238E27FC236}">
                    <a16:creationId xmlns:a16="http://schemas.microsoft.com/office/drawing/2014/main" id="{1A908BCB-9479-AD18-481B-76DB085474AF}"/>
                  </a:ext>
                </a:extLst>
              </p:cNvPr>
              <p:cNvSpPr/>
              <p:nvPr/>
            </p:nvSpPr>
            <p:spPr>
              <a:xfrm rot="16200000">
                <a:off x="2477230" y="2400348"/>
                <a:ext cx="1405660" cy="4599454"/>
              </a:xfrm>
              <a:prstGeom prst="roundRect">
                <a:avLst/>
              </a:prstGeom>
              <a:solidFill>
                <a:srgbClr val="28458D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KZ"/>
              </a:p>
            </p:txBody>
          </p:sp>
        </p:grpSp>
      </p:grpSp>
      <p:sp>
        <p:nvSpPr>
          <p:cNvPr id="56323" name="TextBox 88">
            <a:extLst>
              <a:ext uri="{FF2B5EF4-FFF2-40B4-BE49-F238E27FC236}">
                <a16:creationId xmlns:a16="http://schemas.microsoft.com/office/drawing/2014/main" id="{BB0CF0C0-04E6-2E4F-AA58-D761F7AC3B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47263" y="5125526"/>
            <a:ext cx="2886075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200" b="1" dirty="0">
                <a:solidFill>
                  <a:srgbClr val="28458D"/>
                </a:solidFill>
              </a:rPr>
              <a:t>Банк заданий </a:t>
            </a:r>
            <a:br>
              <a:rPr lang="ru-RU" altLang="ru-RU" sz="1200" b="1" dirty="0">
                <a:solidFill>
                  <a:srgbClr val="28458D"/>
                </a:solidFill>
              </a:rPr>
            </a:br>
            <a:r>
              <a:rPr lang="ru-RU" altLang="ru-RU" sz="1200" b="1" dirty="0">
                <a:solidFill>
                  <a:srgbClr val="28458D"/>
                </a:solidFill>
              </a:rPr>
              <a:t>по функциональной </a:t>
            </a:r>
            <a:br>
              <a:rPr lang="ru-RU" altLang="ru-RU" sz="1200" b="1" dirty="0">
                <a:solidFill>
                  <a:srgbClr val="28458D"/>
                </a:solidFill>
              </a:rPr>
            </a:br>
            <a:r>
              <a:rPr lang="ru-RU" altLang="ru-RU" sz="1200" b="1" dirty="0">
                <a:solidFill>
                  <a:srgbClr val="28458D"/>
                </a:solidFill>
              </a:rPr>
              <a:t>грамотности</a:t>
            </a:r>
          </a:p>
        </p:txBody>
      </p:sp>
      <p:pic>
        <p:nvPicPr>
          <p:cNvPr id="56324" name="Рисунок 3">
            <a:extLst>
              <a:ext uri="{FF2B5EF4-FFF2-40B4-BE49-F238E27FC236}">
                <a16:creationId xmlns:a16="http://schemas.microsoft.com/office/drawing/2014/main" id="{F5608D20-AEE8-B71B-0CF1-B4C95C99F5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4981" y="2336800"/>
            <a:ext cx="742950" cy="758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325" name="Рисунок 4">
            <a:extLst>
              <a:ext uri="{FF2B5EF4-FFF2-40B4-BE49-F238E27FC236}">
                <a16:creationId xmlns:a16="http://schemas.microsoft.com/office/drawing/2014/main" id="{875B56EB-7878-F043-95A4-5530630231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8872" y="3274172"/>
            <a:ext cx="776288" cy="758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326" name="Рисунок 5">
            <a:extLst>
              <a:ext uri="{FF2B5EF4-FFF2-40B4-BE49-F238E27FC236}">
                <a16:creationId xmlns:a16="http://schemas.microsoft.com/office/drawing/2014/main" id="{E74EFBC0-1FDC-FD1B-432F-B2D2658723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7285" y="1412875"/>
            <a:ext cx="777875" cy="760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327" name="Рисунок 6">
            <a:extLst>
              <a:ext uri="{FF2B5EF4-FFF2-40B4-BE49-F238E27FC236}">
                <a16:creationId xmlns:a16="http://schemas.microsoft.com/office/drawing/2014/main" id="{1C8B8F93-ED2C-A02D-8D93-C1F08884D4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6406" y="3260725"/>
            <a:ext cx="771525" cy="758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328" name="Рисунок 7">
            <a:extLst>
              <a:ext uri="{FF2B5EF4-FFF2-40B4-BE49-F238E27FC236}">
                <a16:creationId xmlns:a16="http://schemas.microsoft.com/office/drawing/2014/main" id="{F6E4076C-E49C-1796-BA2C-D1BC5AEA53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0056" y="1398965"/>
            <a:ext cx="777875" cy="760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329" name="Рисунок 8">
            <a:extLst>
              <a:ext uri="{FF2B5EF4-FFF2-40B4-BE49-F238E27FC236}">
                <a16:creationId xmlns:a16="http://schemas.microsoft.com/office/drawing/2014/main" id="{A3D142B6-17A8-C044-F03C-BA9DF6D457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3160" y="2355763"/>
            <a:ext cx="762000" cy="744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330" name="Рисунок 9">
            <a:extLst>
              <a:ext uri="{FF2B5EF4-FFF2-40B4-BE49-F238E27FC236}">
                <a16:creationId xmlns:a16="http://schemas.microsoft.com/office/drawing/2014/main" id="{D147CA0C-0DBA-66C9-100A-8590E44D61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3635" y="4152526"/>
            <a:ext cx="771525" cy="758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331" name="Рисунок 20">
            <a:extLst>
              <a:ext uri="{FF2B5EF4-FFF2-40B4-BE49-F238E27FC236}">
                <a16:creationId xmlns:a16="http://schemas.microsoft.com/office/drawing/2014/main" id="{9DD2BA43-C776-A003-0F37-CCCFA08D0C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1643" y="5123526"/>
            <a:ext cx="776288" cy="758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332" name="Рисунок 41">
            <a:extLst>
              <a:ext uri="{FF2B5EF4-FFF2-40B4-BE49-F238E27FC236}">
                <a16:creationId xmlns:a16="http://schemas.microsoft.com/office/drawing/2014/main" id="{66FA341B-FF62-75F3-A32A-044F309066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8872" y="5086350"/>
            <a:ext cx="776288" cy="758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333" name="TextBox 44">
            <a:extLst>
              <a:ext uri="{FF2B5EF4-FFF2-40B4-BE49-F238E27FC236}">
                <a16:creationId xmlns:a16="http://schemas.microsoft.com/office/drawing/2014/main" id="{4285AC48-8810-5D70-B1CC-E54D966CFE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12201" y="1630363"/>
            <a:ext cx="117153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200" b="1" dirty="0">
                <a:solidFill>
                  <a:srgbClr val="28458D"/>
                </a:solidFill>
              </a:rPr>
              <a:t>К школе готов!</a:t>
            </a:r>
          </a:p>
        </p:txBody>
      </p:sp>
      <p:sp>
        <p:nvSpPr>
          <p:cNvPr id="56334" name="TextBox 80">
            <a:extLst>
              <a:ext uri="{FF2B5EF4-FFF2-40B4-BE49-F238E27FC236}">
                <a16:creationId xmlns:a16="http://schemas.microsoft.com/office/drawing/2014/main" id="{99049909-4832-EFFA-4061-7C7406EC63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12201" y="5310188"/>
            <a:ext cx="95571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200" b="1" dirty="0">
                <a:solidFill>
                  <a:srgbClr val="28458D"/>
                </a:solidFill>
              </a:rPr>
              <a:t>Я сдам ЕГЭ!</a:t>
            </a:r>
          </a:p>
        </p:txBody>
      </p:sp>
      <p:sp>
        <p:nvSpPr>
          <p:cNvPr id="56335" name="TextBox 81">
            <a:extLst>
              <a:ext uri="{FF2B5EF4-FFF2-40B4-BE49-F238E27FC236}">
                <a16:creationId xmlns:a16="http://schemas.microsoft.com/office/drawing/2014/main" id="{4184701D-3825-DFBF-B230-C44F6EEC059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12201" y="3382122"/>
            <a:ext cx="95321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200" b="1">
                <a:solidFill>
                  <a:srgbClr val="28458D"/>
                </a:solidFill>
              </a:rPr>
              <a:t>Домашние </a:t>
            </a:r>
            <a:br>
              <a:rPr lang="ru-RU" altLang="ru-RU" sz="1200" b="1">
                <a:solidFill>
                  <a:srgbClr val="28458D"/>
                </a:solidFill>
              </a:rPr>
            </a:br>
            <a:r>
              <a:rPr lang="ru-RU" altLang="ru-RU" sz="1200" b="1">
                <a:solidFill>
                  <a:srgbClr val="28458D"/>
                </a:solidFill>
              </a:rPr>
              <a:t>задания</a:t>
            </a:r>
          </a:p>
        </p:txBody>
      </p:sp>
      <p:sp>
        <p:nvSpPr>
          <p:cNvPr id="56336" name="TextBox 85">
            <a:extLst>
              <a:ext uri="{FF2B5EF4-FFF2-40B4-BE49-F238E27FC236}">
                <a16:creationId xmlns:a16="http://schemas.microsoft.com/office/drawing/2014/main" id="{214C4EA1-164D-FF58-A6DE-C95A141DD02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47263" y="3427413"/>
            <a:ext cx="21717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200" b="1">
                <a:solidFill>
                  <a:srgbClr val="28458D"/>
                </a:solidFill>
              </a:rPr>
              <a:t>Лаборатория </a:t>
            </a:r>
            <a:br>
              <a:rPr lang="ru-RU" altLang="ru-RU" sz="1200" b="1">
                <a:solidFill>
                  <a:srgbClr val="28458D"/>
                </a:solidFill>
              </a:rPr>
            </a:br>
            <a:r>
              <a:rPr lang="ru-RU" altLang="ru-RU" sz="1200" b="1">
                <a:solidFill>
                  <a:srgbClr val="28458D"/>
                </a:solidFill>
              </a:rPr>
              <a:t>проектов</a:t>
            </a:r>
          </a:p>
        </p:txBody>
      </p:sp>
      <p:sp>
        <p:nvSpPr>
          <p:cNvPr id="56337" name="TextBox 87">
            <a:extLst>
              <a:ext uri="{FF2B5EF4-FFF2-40B4-BE49-F238E27FC236}">
                <a16:creationId xmlns:a16="http://schemas.microsoft.com/office/drawing/2014/main" id="{38CBFA53-1D6D-1C03-B824-A242B241C0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47263" y="2557257"/>
            <a:ext cx="155733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200" b="1">
                <a:solidFill>
                  <a:srgbClr val="28458D"/>
                </a:solidFill>
              </a:rPr>
              <a:t>ПРОвоспитание</a:t>
            </a:r>
          </a:p>
        </p:txBody>
      </p:sp>
      <p:sp>
        <p:nvSpPr>
          <p:cNvPr id="56338" name="TextBox 91">
            <a:extLst>
              <a:ext uri="{FF2B5EF4-FFF2-40B4-BE49-F238E27FC236}">
                <a16:creationId xmlns:a16="http://schemas.microsoft.com/office/drawing/2014/main" id="{8DE00680-1ECE-6540-317F-689A350EA7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47263" y="1644822"/>
            <a:ext cx="98777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200" b="1" dirty="0" err="1">
                <a:solidFill>
                  <a:srgbClr val="28458D"/>
                </a:solidFill>
              </a:rPr>
              <a:t>Начинайзер</a:t>
            </a:r>
            <a:endParaRPr lang="ru-RU" altLang="ru-RU" sz="1200" b="1" dirty="0">
              <a:solidFill>
                <a:srgbClr val="28458D"/>
              </a:solidFill>
            </a:endParaRPr>
          </a:p>
        </p:txBody>
      </p:sp>
      <p:sp>
        <p:nvSpPr>
          <p:cNvPr id="56339" name="TextBox 93">
            <a:extLst>
              <a:ext uri="{FF2B5EF4-FFF2-40B4-BE49-F238E27FC236}">
                <a16:creationId xmlns:a16="http://schemas.microsoft.com/office/drawing/2014/main" id="{B8630EDB-FABA-8060-BEA0-209FF837F8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12201" y="4363663"/>
            <a:ext cx="142081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200" b="1" dirty="0" err="1">
                <a:solidFill>
                  <a:srgbClr val="28458D"/>
                </a:solidFill>
              </a:rPr>
              <a:t>Аудиоучебник</a:t>
            </a:r>
            <a:endParaRPr lang="ru-RU" altLang="ru-RU" sz="1200" b="1" dirty="0">
              <a:solidFill>
                <a:srgbClr val="28458D"/>
              </a:solidFill>
            </a:endParaRPr>
          </a:p>
        </p:txBody>
      </p:sp>
      <p:pic>
        <p:nvPicPr>
          <p:cNvPr id="56340" name="Рисунок 69">
            <a:extLst>
              <a:ext uri="{FF2B5EF4-FFF2-40B4-BE49-F238E27FC236}">
                <a16:creationId xmlns:a16="http://schemas.microsoft.com/office/drawing/2014/main" id="{737EAB3B-E55E-2881-D8D0-286C79FF9F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9581" y="4157663"/>
            <a:ext cx="768350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341" name="TextBox 95">
            <a:extLst>
              <a:ext uri="{FF2B5EF4-FFF2-40B4-BE49-F238E27FC236}">
                <a16:creationId xmlns:a16="http://schemas.microsoft.com/office/drawing/2014/main" id="{6DD61C8A-638E-ED6C-387F-F5C6757006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47263" y="4252913"/>
            <a:ext cx="238125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200" b="1" dirty="0">
                <a:solidFill>
                  <a:srgbClr val="28458D"/>
                </a:solidFill>
              </a:rPr>
              <a:t>Электронная </a:t>
            </a:r>
            <a:br>
              <a:rPr lang="ru-RU" altLang="ru-RU" sz="1200" b="1" dirty="0">
                <a:solidFill>
                  <a:srgbClr val="28458D"/>
                </a:solidFill>
              </a:rPr>
            </a:br>
            <a:r>
              <a:rPr lang="ru-RU" altLang="ru-RU" sz="1200" b="1" dirty="0">
                <a:solidFill>
                  <a:srgbClr val="28458D"/>
                </a:solidFill>
              </a:rPr>
              <a:t>форма учебника</a:t>
            </a:r>
          </a:p>
        </p:txBody>
      </p:sp>
      <p:sp>
        <p:nvSpPr>
          <p:cNvPr id="56342" name="TextBox 97">
            <a:extLst>
              <a:ext uri="{FF2B5EF4-FFF2-40B4-BE49-F238E27FC236}">
                <a16:creationId xmlns:a16="http://schemas.microsoft.com/office/drawing/2014/main" id="{503B3641-996C-8CD4-67A3-E6FBB21217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70179" y="522218"/>
            <a:ext cx="5434421" cy="480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ru-RU" altLang="ru-RU" sz="1400" b="1" dirty="0">
                <a:solidFill>
                  <a:srgbClr val="28458D"/>
                </a:solidFill>
                <a:cs typeface="Open Sans Condensed" pitchFamily="2" charset="0"/>
              </a:rPr>
              <a:t>Платформа </a:t>
            </a:r>
            <a:r>
              <a:rPr lang="en" altLang="ru-RU" sz="1400" b="1" dirty="0">
                <a:solidFill>
                  <a:srgbClr val="28458D"/>
                </a:solidFill>
                <a:cs typeface="Open Sans Condensed" pitchFamily="2" charset="0"/>
              </a:rPr>
              <a:t>LECTA — </a:t>
            </a:r>
            <a:r>
              <a:rPr lang="ru-RU" altLang="ru-RU" sz="1400" b="1" dirty="0">
                <a:solidFill>
                  <a:srgbClr val="28458D"/>
                </a:solidFill>
                <a:cs typeface="Open Sans Condensed" pitchFamily="2" charset="0"/>
              </a:rPr>
              <a:t>доступ к электронным учебникам </a:t>
            </a:r>
            <a:br>
              <a:rPr lang="en-US" altLang="ru-RU" sz="1400" b="1" dirty="0">
                <a:solidFill>
                  <a:srgbClr val="28458D"/>
                </a:solidFill>
                <a:cs typeface="Open Sans Condensed" pitchFamily="2" charset="0"/>
              </a:rPr>
            </a:br>
            <a:r>
              <a:rPr lang="ru-RU" altLang="ru-RU" sz="1400" b="1" dirty="0">
                <a:solidFill>
                  <a:srgbClr val="28458D"/>
                </a:solidFill>
                <a:cs typeface="Open Sans Condensed" pitchFamily="2" charset="0"/>
              </a:rPr>
              <a:t>и цифровым сервисам</a:t>
            </a:r>
          </a:p>
        </p:txBody>
      </p:sp>
      <p:sp>
        <p:nvSpPr>
          <p:cNvPr id="56343" name="Прямоугольник 2">
            <a:extLst>
              <a:ext uri="{FF2B5EF4-FFF2-40B4-BE49-F238E27FC236}">
                <a16:creationId xmlns:a16="http://schemas.microsoft.com/office/drawing/2014/main" id="{F197B423-C0AF-47E8-6B90-9D58928561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3700" y="414338"/>
            <a:ext cx="10701338" cy="103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85000"/>
              </a:lnSpc>
            </a:pPr>
            <a:r>
              <a:rPr lang="ru-RU" altLang="ru-RU" sz="2400" b="1" dirty="0">
                <a:solidFill>
                  <a:schemeClr val="bg1"/>
                </a:solidFill>
                <a:cs typeface="Open Sans Condensed" pitchFamily="2" charset="0"/>
              </a:rPr>
              <a:t>Платформа цифровых </a:t>
            </a:r>
            <a:br>
              <a:rPr lang="en-US" altLang="ru-RU" sz="2400" b="1" dirty="0">
                <a:solidFill>
                  <a:schemeClr val="bg1"/>
                </a:solidFill>
                <a:cs typeface="Open Sans Condensed" pitchFamily="2" charset="0"/>
              </a:rPr>
            </a:br>
            <a:r>
              <a:rPr lang="ru-RU" altLang="ru-RU" sz="2400" b="1" dirty="0">
                <a:solidFill>
                  <a:schemeClr val="bg1"/>
                </a:solidFill>
                <a:cs typeface="Open Sans Condensed" pitchFamily="2" charset="0"/>
              </a:rPr>
              <a:t>образовательных сервисов </a:t>
            </a:r>
            <a:br>
              <a:rPr lang="en-US" altLang="ru-RU" sz="2400" b="1" dirty="0">
                <a:solidFill>
                  <a:schemeClr val="bg1"/>
                </a:solidFill>
                <a:cs typeface="Open Sans Condensed" pitchFamily="2" charset="0"/>
              </a:rPr>
            </a:br>
            <a:r>
              <a:rPr lang="ru-RU" altLang="ru-RU" sz="2400" b="1" dirty="0">
                <a:solidFill>
                  <a:schemeClr val="bg1"/>
                </a:solidFill>
                <a:cs typeface="Open Sans Condensed" pitchFamily="2" charset="0"/>
              </a:rPr>
              <a:t>«Просвещения» — </a:t>
            </a:r>
            <a:r>
              <a:rPr lang="en-US" altLang="ru-RU" sz="2400" b="1" dirty="0">
                <a:solidFill>
                  <a:schemeClr val="bg1"/>
                </a:solidFill>
                <a:cs typeface="Open Sans Condensed" pitchFamily="2" charset="0"/>
              </a:rPr>
              <a:t>LECTA</a:t>
            </a:r>
            <a:endParaRPr lang="ru-RU" altLang="ru-RU" sz="2400" b="1" dirty="0">
              <a:solidFill>
                <a:schemeClr val="bg1"/>
              </a:solidFill>
              <a:cs typeface="Open Sans Condensed" pitchFamily="2" charset="0"/>
            </a:endParaRPr>
          </a:p>
        </p:txBody>
      </p:sp>
      <p:sp>
        <p:nvSpPr>
          <p:cNvPr id="56344" name="TextBox 12">
            <a:extLst>
              <a:ext uri="{FF2B5EF4-FFF2-40B4-BE49-F238E27FC236}">
                <a16:creationId xmlns:a16="http://schemas.microsoft.com/office/drawing/2014/main" id="{3791D579-E6FC-D742-C617-334B2C619A1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12201" y="2565313"/>
            <a:ext cx="9355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sz="1200" b="1">
                <a:solidFill>
                  <a:srgbClr val="28458D"/>
                </a:solidFill>
              </a:rPr>
              <a:t>Учим стихи</a:t>
            </a:r>
          </a:p>
        </p:txBody>
      </p:sp>
      <p:sp>
        <p:nvSpPr>
          <p:cNvPr id="56345" name="TextBox 59">
            <a:extLst>
              <a:ext uri="{FF2B5EF4-FFF2-40B4-BE49-F238E27FC236}">
                <a16:creationId xmlns:a16="http://schemas.microsoft.com/office/drawing/2014/main" id="{9EF9DF5B-3526-B802-1295-829631C61D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250" y="2733040"/>
            <a:ext cx="1806575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b="1">
                <a:solidFill>
                  <a:schemeClr val="bg1"/>
                </a:solidFill>
              </a:rPr>
              <a:t>Родителю</a:t>
            </a:r>
            <a:br>
              <a:rPr lang="ru-RU" altLang="ru-RU" b="1">
                <a:solidFill>
                  <a:schemeClr val="bg1"/>
                </a:solidFill>
              </a:rPr>
            </a:br>
            <a:r>
              <a:rPr lang="ru-RU" altLang="ru-RU" b="1">
                <a:solidFill>
                  <a:schemeClr val="bg1"/>
                </a:solidFill>
              </a:rPr>
              <a:t>и ученику</a:t>
            </a:r>
          </a:p>
        </p:txBody>
      </p:sp>
      <p:sp>
        <p:nvSpPr>
          <p:cNvPr id="56346" name="TextBox 60">
            <a:extLst>
              <a:ext uri="{FF2B5EF4-FFF2-40B4-BE49-F238E27FC236}">
                <a16:creationId xmlns:a16="http://schemas.microsoft.com/office/drawing/2014/main" id="{9A2EDCF1-F858-FDD1-E7F8-573F641C6B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84513" y="2744153"/>
            <a:ext cx="1827212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/>
            <a:r>
              <a:rPr lang="ru-RU" altLang="ru-RU" b="1" dirty="0">
                <a:solidFill>
                  <a:schemeClr val="bg1"/>
                </a:solidFill>
              </a:rPr>
              <a:t>Обучаем </a:t>
            </a:r>
            <a:br>
              <a:rPr lang="ru-RU" altLang="ru-RU" b="1" dirty="0">
                <a:solidFill>
                  <a:schemeClr val="bg1"/>
                </a:solidFill>
              </a:rPr>
            </a:br>
            <a:r>
              <a:rPr lang="ru-RU" altLang="ru-RU" b="1" dirty="0">
                <a:solidFill>
                  <a:schemeClr val="bg1"/>
                </a:solidFill>
              </a:rPr>
              <a:t>и воспитываем</a:t>
            </a:r>
          </a:p>
        </p:txBody>
      </p:sp>
      <p:sp>
        <p:nvSpPr>
          <p:cNvPr id="56347" name="TextBox 61">
            <a:extLst>
              <a:ext uri="{FF2B5EF4-FFF2-40B4-BE49-F238E27FC236}">
                <a16:creationId xmlns:a16="http://schemas.microsoft.com/office/drawing/2014/main" id="{145AF579-0911-75F8-FC0F-507D99854A1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3250" y="5044440"/>
            <a:ext cx="1806575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ru-RU" altLang="ru-RU" b="1">
                <a:solidFill>
                  <a:schemeClr val="bg1"/>
                </a:solidFill>
              </a:rPr>
              <a:t>Учителю</a:t>
            </a:r>
            <a:br>
              <a:rPr lang="ru-RU" altLang="ru-RU" b="1">
                <a:solidFill>
                  <a:schemeClr val="bg1"/>
                </a:solidFill>
              </a:rPr>
            </a:br>
            <a:r>
              <a:rPr lang="ru-RU" altLang="ru-RU" b="1">
                <a:solidFill>
                  <a:schemeClr val="bg1"/>
                </a:solidFill>
              </a:rPr>
              <a:t>и ученику</a:t>
            </a:r>
          </a:p>
        </p:txBody>
      </p:sp>
      <p:sp>
        <p:nvSpPr>
          <p:cNvPr id="56348" name="TextBox 62">
            <a:extLst>
              <a:ext uri="{FF2B5EF4-FFF2-40B4-BE49-F238E27FC236}">
                <a16:creationId xmlns:a16="http://schemas.microsoft.com/office/drawing/2014/main" id="{7D74CD20-E44D-7C29-24DB-14E3D4726D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84513" y="5046028"/>
            <a:ext cx="1827212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/>
            <a:r>
              <a:rPr lang="ru-RU" altLang="ru-RU" b="1">
                <a:solidFill>
                  <a:schemeClr val="bg1"/>
                </a:solidFill>
              </a:rPr>
              <a:t>Проверяем</a:t>
            </a:r>
            <a:br>
              <a:rPr lang="ru-RU" altLang="ru-RU" b="1">
                <a:solidFill>
                  <a:schemeClr val="bg1"/>
                </a:solidFill>
              </a:rPr>
            </a:br>
            <a:r>
              <a:rPr lang="ru-RU" altLang="ru-RU" b="1">
                <a:solidFill>
                  <a:schemeClr val="bg1"/>
                </a:solidFill>
              </a:rPr>
              <a:t>знания</a:t>
            </a:r>
          </a:p>
        </p:txBody>
      </p:sp>
      <p:cxnSp>
        <p:nvCxnSpPr>
          <p:cNvPr id="65" name="Прямая соединительная линия 64">
            <a:extLst>
              <a:ext uri="{FF2B5EF4-FFF2-40B4-BE49-F238E27FC236}">
                <a16:creationId xmlns:a16="http://schemas.microsoft.com/office/drawing/2014/main" id="{EF13A13D-3872-8578-4A44-2E698FF4E4E4}"/>
              </a:ext>
            </a:extLst>
          </p:cNvPr>
          <p:cNvCxnSpPr/>
          <p:nvPr/>
        </p:nvCxnSpPr>
        <p:spPr>
          <a:xfrm>
            <a:off x="6113463" y="2243138"/>
            <a:ext cx="2557462" cy="0"/>
          </a:xfrm>
          <a:prstGeom prst="line">
            <a:avLst/>
          </a:prstGeom>
          <a:ln w="19050">
            <a:solidFill>
              <a:srgbClr val="2845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>
            <a:extLst>
              <a:ext uri="{FF2B5EF4-FFF2-40B4-BE49-F238E27FC236}">
                <a16:creationId xmlns:a16="http://schemas.microsoft.com/office/drawing/2014/main" id="{609C03C8-228D-6561-1167-A0E9A7775D44}"/>
              </a:ext>
            </a:extLst>
          </p:cNvPr>
          <p:cNvCxnSpPr/>
          <p:nvPr/>
        </p:nvCxnSpPr>
        <p:spPr>
          <a:xfrm>
            <a:off x="6113463" y="3157538"/>
            <a:ext cx="2557462" cy="0"/>
          </a:xfrm>
          <a:prstGeom prst="line">
            <a:avLst/>
          </a:prstGeom>
          <a:ln w="19050">
            <a:solidFill>
              <a:srgbClr val="2845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66">
            <a:extLst>
              <a:ext uri="{FF2B5EF4-FFF2-40B4-BE49-F238E27FC236}">
                <a16:creationId xmlns:a16="http://schemas.microsoft.com/office/drawing/2014/main" id="{C8886463-4DFA-A381-449D-AEE30CCDE23D}"/>
              </a:ext>
            </a:extLst>
          </p:cNvPr>
          <p:cNvCxnSpPr/>
          <p:nvPr/>
        </p:nvCxnSpPr>
        <p:spPr>
          <a:xfrm>
            <a:off x="6113463" y="4087813"/>
            <a:ext cx="2557462" cy="0"/>
          </a:xfrm>
          <a:prstGeom prst="line">
            <a:avLst/>
          </a:prstGeom>
          <a:ln w="19050">
            <a:solidFill>
              <a:srgbClr val="2845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>
            <a:extLst>
              <a:ext uri="{FF2B5EF4-FFF2-40B4-BE49-F238E27FC236}">
                <a16:creationId xmlns:a16="http://schemas.microsoft.com/office/drawing/2014/main" id="{DB409F88-678D-0ABE-F0F2-DBFAE736855C}"/>
              </a:ext>
            </a:extLst>
          </p:cNvPr>
          <p:cNvCxnSpPr/>
          <p:nvPr/>
        </p:nvCxnSpPr>
        <p:spPr>
          <a:xfrm>
            <a:off x="6113463" y="5002213"/>
            <a:ext cx="2557462" cy="0"/>
          </a:xfrm>
          <a:prstGeom prst="line">
            <a:avLst/>
          </a:prstGeom>
          <a:ln w="19050">
            <a:solidFill>
              <a:srgbClr val="2845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>
            <a:extLst>
              <a:ext uri="{FF2B5EF4-FFF2-40B4-BE49-F238E27FC236}">
                <a16:creationId xmlns:a16="http://schemas.microsoft.com/office/drawing/2014/main" id="{033ACC05-32D8-ADF8-BFCF-4C706E48F404}"/>
              </a:ext>
            </a:extLst>
          </p:cNvPr>
          <p:cNvCxnSpPr/>
          <p:nvPr/>
        </p:nvCxnSpPr>
        <p:spPr>
          <a:xfrm>
            <a:off x="8950325" y="2243138"/>
            <a:ext cx="2555875" cy="0"/>
          </a:xfrm>
          <a:prstGeom prst="line">
            <a:avLst/>
          </a:prstGeom>
          <a:ln w="19050">
            <a:solidFill>
              <a:srgbClr val="2845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>
            <a:extLst>
              <a:ext uri="{FF2B5EF4-FFF2-40B4-BE49-F238E27FC236}">
                <a16:creationId xmlns:a16="http://schemas.microsoft.com/office/drawing/2014/main" id="{D376D64E-63D3-BBDE-D126-A7A4C8CF33D3}"/>
              </a:ext>
            </a:extLst>
          </p:cNvPr>
          <p:cNvCxnSpPr/>
          <p:nvPr/>
        </p:nvCxnSpPr>
        <p:spPr>
          <a:xfrm>
            <a:off x="8950325" y="3157538"/>
            <a:ext cx="2555875" cy="0"/>
          </a:xfrm>
          <a:prstGeom prst="line">
            <a:avLst/>
          </a:prstGeom>
          <a:ln w="19050">
            <a:solidFill>
              <a:srgbClr val="2845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71">
            <a:extLst>
              <a:ext uri="{FF2B5EF4-FFF2-40B4-BE49-F238E27FC236}">
                <a16:creationId xmlns:a16="http://schemas.microsoft.com/office/drawing/2014/main" id="{9709B93F-891B-58F6-11DD-FBB9B896D0D0}"/>
              </a:ext>
            </a:extLst>
          </p:cNvPr>
          <p:cNvCxnSpPr/>
          <p:nvPr/>
        </p:nvCxnSpPr>
        <p:spPr>
          <a:xfrm>
            <a:off x="8950325" y="4087813"/>
            <a:ext cx="2555875" cy="0"/>
          </a:xfrm>
          <a:prstGeom prst="line">
            <a:avLst/>
          </a:prstGeom>
          <a:ln w="19050">
            <a:solidFill>
              <a:srgbClr val="2845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>
            <a:extLst>
              <a:ext uri="{FF2B5EF4-FFF2-40B4-BE49-F238E27FC236}">
                <a16:creationId xmlns:a16="http://schemas.microsoft.com/office/drawing/2014/main" id="{542B4186-3366-5570-2DFB-25503DC32D54}"/>
              </a:ext>
            </a:extLst>
          </p:cNvPr>
          <p:cNvCxnSpPr/>
          <p:nvPr/>
        </p:nvCxnSpPr>
        <p:spPr>
          <a:xfrm>
            <a:off x="8950325" y="5002213"/>
            <a:ext cx="2555875" cy="0"/>
          </a:xfrm>
          <a:prstGeom prst="line">
            <a:avLst/>
          </a:prstGeom>
          <a:ln w="19050">
            <a:solidFill>
              <a:srgbClr val="2845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6357" name="Рисунок 74">
            <a:extLst>
              <a:ext uri="{FF2B5EF4-FFF2-40B4-BE49-F238E27FC236}">
                <a16:creationId xmlns:a16="http://schemas.microsoft.com/office/drawing/2014/main" id="{4A346DCC-65C5-E2F5-BCDD-2226A35B43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4" r="1834" b="17506"/>
          <a:stretch>
            <a:fillRect/>
          </a:stretch>
        </p:blipFill>
        <p:spPr bwMode="auto">
          <a:xfrm>
            <a:off x="9891713" y="6126163"/>
            <a:ext cx="2112962" cy="48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6" name="Текст 1">
            <a:extLst>
              <a:ext uri="{FF2B5EF4-FFF2-40B4-BE49-F238E27FC236}">
                <a16:creationId xmlns:a16="http://schemas.microsoft.com/office/drawing/2014/main" id="{B3ABA44C-FB16-0F28-A711-395F98002017}"/>
              </a:ext>
            </a:extLst>
          </p:cNvPr>
          <p:cNvSpPr txBox="1">
            <a:spLocks/>
          </p:cNvSpPr>
          <p:nvPr/>
        </p:nvSpPr>
        <p:spPr>
          <a:xfrm>
            <a:off x="11323638" y="48577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48">
              <a:defRPr/>
            </a:pPr>
            <a:fld id="{D841E0B1-C5CA-4548-8C50-BB9659BF2206}" type="slidenum">
              <a:rPr lang="ru-RU" sz="1400" b="1" smtClean="0">
                <a:solidFill>
                  <a:srgbClr val="233C78"/>
                </a:solidFill>
                <a:latin typeface="+mn-lt"/>
              </a:rPr>
              <a:pPr algn="r" defTabSz="914348">
                <a:defRPr/>
              </a:pPr>
              <a:t>34</a:t>
            </a:fld>
            <a:endParaRPr lang="ru-RU" sz="1400" b="1" dirty="0">
              <a:solidFill>
                <a:srgbClr val="233C78"/>
              </a:solidFill>
              <a:latin typeface="+mn-lt"/>
            </a:endParaRPr>
          </a:p>
        </p:txBody>
      </p:sp>
      <p:pic>
        <p:nvPicPr>
          <p:cNvPr id="56360" name="Рисунок 77">
            <a:extLst>
              <a:ext uri="{FF2B5EF4-FFF2-40B4-BE49-F238E27FC236}">
                <a16:creationId xmlns:a16="http://schemas.microsoft.com/office/drawing/2014/main" id="{6DFC2217-4BEB-A971-3000-E56583C4AF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7" b="607"/>
          <a:stretch/>
        </p:blipFill>
        <p:spPr bwMode="auto">
          <a:xfrm>
            <a:off x="2015836" y="3477261"/>
            <a:ext cx="1454732" cy="1437077"/>
          </a:xfrm>
          <a:prstGeom prst="roundRect">
            <a:avLst>
              <a:gd name="adj" fmla="val 11536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079F1B5-5149-9328-2542-760E6F68197C}"/>
              </a:ext>
            </a:extLst>
          </p:cNvPr>
          <p:cNvSpPr txBox="1"/>
          <p:nvPr/>
        </p:nvSpPr>
        <p:spPr>
          <a:xfrm>
            <a:off x="1996156" y="5932559"/>
            <a:ext cx="158235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" sz="1400" b="0" i="0" dirty="0"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https://lecta.ru/</a:t>
            </a:r>
            <a:endParaRPr lang="ru-RU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26439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3">
            <a:extLst>
              <a:ext uri="{FF2B5EF4-FFF2-40B4-BE49-F238E27FC236}">
                <a16:creationId xmlns:a16="http://schemas.microsoft.com/office/drawing/2014/main" id="{20D776D5-02D0-342B-83AE-AE5309E5E0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613" y="173991"/>
            <a:ext cx="10701338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Цифровые сервисы  </a:t>
            </a:r>
          </a:p>
        </p:txBody>
      </p:sp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830149204"/>
              </p:ext>
            </p:extLst>
          </p:nvPr>
        </p:nvGraphicFramePr>
        <p:xfrm>
          <a:off x="-509868" y="726558"/>
          <a:ext cx="10733205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1419878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417" name="Picture 2" descr="http://qrcoder.ru/code/?https%3A%2F%2Fuchitel.club%2Ffgos&amp;4&amp;0">
            <a:extLst>
              <a:ext uri="{FF2B5EF4-FFF2-40B4-BE49-F238E27FC236}">
                <a16:creationId xmlns:a16="http://schemas.microsoft.com/office/drawing/2014/main" id="{F4CFE55D-5DD3-C06A-C305-F27112AA7E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6051" y="4094956"/>
            <a:ext cx="2006600" cy="200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0418" name="TextBox 23">
            <a:extLst>
              <a:ext uri="{FF2B5EF4-FFF2-40B4-BE49-F238E27FC236}">
                <a16:creationId xmlns:a16="http://schemas.microsoft.com/office/drawing/2014/main" id="{6244E386-2E98-4517-1C61-556FD2554E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46482" y="1447396"/>
            <a:ext cx="4732338" cy="22775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4488" indent="-34448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Aft>
                <a:spcPts val="1200"/>
              </a:spcAft>
              <a:buClr>
                <a:srgbClr val="28458D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altLang="ru-RU" sz="1600" dirty="0">
                <a:ea typeface="Yu Gothic UI Light" panose="020B0300000000000000" pitchFamily="34" charset="-128"/>
              </a:rPr>
              <a:t>Методические письма по использованию учебников, соответствующих ФГОС 2009, 2010, в условиях перехода на ФГОС 2021 </a:t>
            </a:r>
          </a:p>
          <a:p>
            <a:pPr eaLnBrk="1" hangingPunct="1">
              <a:spcAft>
                <a:spcPts val="1200"/>
              </a:spcAft>
              <a:buClr>
                <a:srgbClr val="28458D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altLang="ru-RU" sz="1600" dirty="0" err="1">
                <a:ea typeface="Yu Gothic UI Light" panose="020B0300000000000000" pitchFamily="34" charset="-128"/>
              </a:rPr>
              <a:t>Видеолекции</a:t>
            </a:r>
            <a:endParaRPr lang="ru-RU" altLang="ru-RU" sz="1600" dirty="0">
              <a:ea typeface="Yu Gothic UI Light" panose="020B0300000000000000" pitchFamily="34" charset="-128"/>
            </a:endParaRPr>
          </a:p>
          <a:p>
            <a:pPr eaLnBrk="1" hangingPunct="1">
              <a:spcAft>
                <a:spcPts val="1200"/>
              </a:spcAft>
              <a:buClr>
                <a:srgbClr val="28458D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altLang="ru-RU" sz="1600" dirty="0">
                <a:ea typeface="Yu Gothic UI Light" panose="020B0300000000000000" pitchFamily="34" charset="-128"/>
              </a:rPr>
              <a:t>Рекомендации дополнительных учебных пособий и цифровых ресурсов</a:t>
            </a:r>
          </a:p>
          <a:p>
            <a:pPr eaLnBrk="1" hangingPunct="1">
              <a:spcAft>
                <a:spcPts val="1200"/>
              </a:spcAft>
              <a:buClr>
                <a:srgbClr val="28458D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altLang="ru-RU" sz="1600" dirty="0">
                <a:ea typeface="Yu Gothic UI Light" panose="020B0300000000000000" pitchFamily="34" charset="-128"/>
              </a:rPr>
              <a:t>Курсы повышения квалификации 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EA560006-4BA1-AA65-DAA7-3DD61BBCA456}"/>
              </a:ext>
            </a:extLst>
          </p:cNvPr>
          <p:cNvSpPr/>
          <p:nvPr/>
        </p:nvSpPr>
        <p:spPr>
          <a:xfrm>
            <a:off x="9611101" y="5596731"/>
            <a:ext cx="2001837" cy="3079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28458D"/>
                </a:solidFill>
                <a:latin typeface="+mn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uchitel.club/fgos</a:t>
            </a:r>
            <a:r>
              <a:rPr lang="ru-RU" sz="1400" dirty="0">
                <a:solidFill>
                  <a:srgbClr val="28458D"/>
                </a:solidFill>
                <a:latin typeface="+mn-lt"/>
              </a:rPr>
              <a:t> </a:t>
            </a:r>
          </a:p>
        </p:txBody>
      </p:sp>
      <p:sp>
        <p:nvSpPr>
          <p:cNvPr id="60420" name="Прямоугольник 22">
            <a:extLst>
              <a:ext uri="{FF2B5EF4-FFF2-40B4-BE49-F238E27FC236}">
                <a16:creationId xmlns:a16="http://schemas.microsoft.com/office/drawing/2014/main" id="{3346E82D-E9AB-82C9-5626-B9382C2B71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3700" y="414338"/>
            <a:ext cx="10701338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85000"/>
              </a:lnSpc>
            </a:pPr>
            <a:r>
              <a:rPr lang="ru-RU" altLang="ru-RU" sz="2400" b="1">
                <a:solidFill>
                  <a:srgbClr val="28458D"/>
                </a:solidFill>
                <a:cs typeface="Open Sans Condensed" pitchFamily="2" charset="0"/>
              </a:rPr>
              <a:t>Методическая поддержка перехода на обновлённые ФГОС</a:t>
            </a:r>
          </a:p>
        </p:txBody>
      </p:sp>
      <p:grpSp>
        <p:nvGrpSpPr>
          <p:cNvPr id="60421" name="Группа 29">
            <a:extLst>
              <a:ext uri="{FF2B5EF4-FFF2-40B4-BE49-F238E27FC236}">
                <a16:creationId xmlns:a16="http://schemas.microsoft.com/office/drawing/2014/main" id="{33BA157D-E4D1-2BC2-29B4-FCAD8D7040D0}"/>
              </a:ext>
            </a:extLst>
          </p:cNvPr>
          <p:cNvGrpSpPr>
            <a:grpSpLocks/>
          </p:cNvGrpSpPr>
          <p:nvPr/>
        </p:nvGrpSpPr>
        <p:grpSpPr bwMode="auto">
          <a:xfrm>
            <a:off x="393700" y="1153319"/>
            <a:ext cx="6335713" cy="4959350"/>
            <a:chOff x="987531" y="1498878"/>
            <a:chExt cx="5584455" cy="4369818"/>
          </a:xfrm>
        </p:grpSpPr>
        <p:pic>
          <p:nvPicPr>
            <p:cNvPr id="60424" name="Рисунок 27">
              <a:extLst>
                <a:ext uri="{FF2B5EF4-FFF2-40B4-BE49-F238E27FC236}">
                  <a16:creationId xmlns:a16="http://schemas.microsoft.com/office/drawing/2014/main" id="{3B297C61-4E45-357F-2977-8394C52ADF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0875" b="10875"/>
            <a:stretch>
              <a:fillRect/>
            </a:stretch>
          </p:blipFill>
          <p:spPr bwMode="auto">
            <a:xfrm>
              <a:off x="987531" y="1498878"/>
              <a:ext cx="5584455" cy="43698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0425" name="Рисунок 2">
              <a:extLst>
                <a:ext uri="{FF2B5EF4-FFF2-40B4-BE49-F238E27FC236}">
                  <a16:creationId xmlns:a16="http://schemas.microsoft.com/office/drawing/2014/main" id="{FA9E785F-D3EF-395C-D555-6C38E2D64F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0527" y="2062591"/>
              <a:ext cx="4031437" cy="22715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id="{F1BAE9F4-E22E-C655-6D11-2299361D1F39}"/>
                </a:ext>
              </a:extLst>
            </p:cNvPr>
            <p:cNvSpPr/>
            <p:nvPr/>
          </p:nvSpPr>
          <p:spPr>
            <a:xfrm>
              <a:off x="1771118" y="4334224"/>
              <a:ext cx="4031274" cy="148272"/>
            </a:xfrm>
            <a:prstGeom prst="rect">
              <a:avLst/>
            </a:prstGeom>
            <a:solidFill>
              <a:srgbClr val="ECF5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sp>
        <p:nvSpPr>
          <p:cNvPr id="2" name="Скругленный прямоугольник 1">
            <a:extLst>
              <a:ext uri="{FF2B5EF4-FFF2-40B4-BE49-F238E27FC236}">
                <a16:creationId xmlns:a16="http://schemas.microsoft.com/office/drawing/2014/main" id="{3789887E-D6F9-0CD5-C1EF-D00A97EF9424}"/>
              </a:ext>
            </a:extLst>
          </p:cNvPr>
          <p:cNvSpPr/>
          <p:nvPr/>
        </p:nvSpPr>
        <p:spPr>
          <a:xfrm>
            <a:off x="7150476" y="4094956"/>
            <a:ext cx="4556125" cy="2017713"/>
          </a:xfrm>
          <a:prstGeom prst="roundRect">
            <a:avLst>
              <a:gd name="adj" fmla="val 12521"/>
            </a:avLst>
          </a:prstGeom>
          <a:noFill/>
          <a:ln w="19050">
            <a:solidFill>
              <a:srgbClr val="2845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KZ"/>
          </a:p>
        </p:txBody>
      </p:sp>
      <p:sp>
        <p:nvSpPr>
          <p:cNvPr id="60423" name="Прямоугольник 12">
            <a:extLst>
              <a:ext uri="{FF2B5EF4-FFF2-40B4-BE49-F238E27FC236}">
                <a16:creationId xmlns:a16="http://schemas.microsoft.com/office/drawing/2014/main" id="{7989A508-0E1A-0C91-450C-99E4288DFE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44426" y="5283815"/>
            <a:ext cx="23622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buSzPct val="100000"/>
            </a:pPr>
            <a:r>
              <a:rPr lang="ru-RU" altLang="ru-RU" sz="1400" b="1" dirty="0">
                <a:solidFill>
                  <a:srgbClr val="28458D"/>
                </a:solidFill>
                <a:cs typeface="Open Sans Condensed" pitchFamily="2" charset="0"/>
              </a:rPr>
              <a:t>Больше информации </a:t>
            </a:r>
          </a:p>
        </p:txBody>
      </p:sp>
    </p:spTree>
    <p:extLst>
      <p:ext uri="{BB962C8B-B14F-4D97-AF65-F5344CB8AC3E}">
        <p14:creationId xmlns:p14="http://schemas.microsoft.com/office/powerpoint/2010/main" val="33121046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Объект 6" hidden="1">
            <a:extLst>
              <a:ext uri="{FF2B5EF4-FFF2-40B4-BE49-F238E27FC236}">
                <a16:creationId xmlns:a16="http://schemas.microsoft.com/office/drawing/2014/main" id="{492B649E-93DA-C1A7-B9EA-D5AD279AD0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9" name="Слайд think-cell" r:id="rId6" imgW="38100" imgH="38100" progId="TCLayout.ActiveDocument.1">
                  <p:embed/>
                </p:oleObj>
              </mc:Choice>
              <mc:Fallback>
                <p:oleObj name="Слайд think-cell" r:id="rId6" imgW="38100" imgH="38100" progId="TCLayout.ActiveDocument.1">
                  <p:embed/>
                  <p:pic>
                    <p:nvPicPr>
                      <p:cNvPr id="11266" name="Объект 6" hidden="1">
                        <a:extLst>
                          <a:ext uri="{FF2B5EF4-FFF2-40B4-BE49-F238E27FC236}">
                            <a16:creationId xmlns:a16="http://schemas.microsoft.com/office/drawing/2014/main" id="{492B649E-93DA-C1A7-B9EA-D5AD279AD08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8903C33-3A63-D732-DA73-D134B059AE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3671D4B-50F6-9EC5-7206-DABDC4E71B3F}"/>
              </a:ext>
            </a:extLst>
          </p:cNvPr>
          <p:cNvSpPr txBox="1"/>
          <p:nvPr/>
        </p:nvSpPr>
        <p:spPr>
          <a:xfrm>
            <a:off x="479425" y="5782110"/>
            <a:ext cx="5921375" cy="61555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Все права защищены. Никакая часть презентации не может быть воспроизведена в какой </a:t>
            </a:r>
            <a:b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</a:b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бы то ни было форме и какими бы то ни было средствами, включая размещение в Интернете </a:t>
            </a:r>
            <a:b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</a:b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и в корпоративных сетях, а также запись в память ЭВМ,  для частного или публичного использования, </a:t>
            </a:r>
            <a:b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</a:b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без письменного разрешения владельца авторских прав. © АО «Издательство «Просвещение», 20</a:t>
            </a:r>
            <a:r>
              <a:rPr lang="en-US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2</a:t>
            </a: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2 г.</a:t>
            </a:r>
          </a:p>
        </p:txBody>
      </p:sp>
      <p:pic>
        <p:nvPicPr>
          <p:cNvPr id="11270" name="Рисунок 2">
            <a:extLst>
              <a:ext uri="{FF2B5EF4-FFF2-40B4-BE49-F238E27FC236}">
                <a16:creationId xmlns:a16="http://schemas.microsoft.com/office/drawing/2014/main" id="{25DA1C98-81B6-7038-E7AA-483061A3ED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r="72" b="18723"/>
          <a:stretch>
            <a:fillRect/>
          </a:stretch>
        </p:blipFill>
        <p:spPr bwMode="auto">
          <a:xfrm>
            <a:off x="407988" y="460375"/>
            <a:ext cx="2819400" cy="763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407988" y="1973724"/>
            <a:ext cx="9144000" cy="23876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chemeClr val="bg1"/>
                </a:solidFill>
              </a:rPr>
              <a:t>Федеральный перечень учебников</a:t>
            </a:r>
          </a:p>
          <a:p>
            <a:r>
              <a:rPr lang="ru-RU" dirty="0">
                <a:solidFill>
                  <a:schemeClr val="bg1"/>
                </a:solidFill>
              </a:rPr>
              <a:t>Приказ № 858 от 21.09.2022</a:t>
            </a: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407988" y="3771154"/>
            <a:ext cx="9144000" cy="23876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chemeClr val="bg1"/>
                </a:solidFill>
              </a:rPr>
              <a:t>Технология</a:t>
            </a:r>
          </a:p>
        </p:txBody>
      </p:sp>
    </p:spTree>
    <p:extLst>
      <p:ext uri="{BB962C8B-B14F-4D97-AF65-F5344CB8AC3E}">
        <p14:creationId xmlns:p14="http://schemas.microsoft.com/office/powerpoint/2010/main" val="1909211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Скругленный прямоугольник 49">
            <a:extLst>
              <a:ext uri="{FF2B5EF4-FFF2-40B4-BE49-F238E27FC236}">
                <a16:creationId xmlns:a16="http://schemas.microsoft.com/office/drawing/2014/main" id="{4EF746BA-2529-3432-10DE-052BA9A94808}"/>
              </a:ext>
            </a:extLst>
          </p:cNvPr>
          <p:cNvSpPr/>
          <p:nvPr/>
        </p:nvSpPr>
        <p:spPr>
          <a:xfrm>
            <a:off x="435552" y="4820211"/>
            <a:ext cx="3931662" cy="88732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KZ"/>
          </a:p>
        </p:txBody>
      </p:sp>
      <p:grpSp>
        <p:nvGrpSpPr>
          <p:cNvPr id="16385" name="Группа 46">
            <a:extLst>
              <a:ext uri="{FF2B5EF4-FFF2-40B4-BE49-F238E27FC236}">
                <a16:creationId xmlns:a16="http://schemas.microsoft.com/office/drawing/2014/main" id="{E1816B81-008A-38FA-D6AA-C77AB5B9476B}"/>
              </a:ext>
            </a:extLst>
          </p:cNvPr>
          <p:cNvGrpSpPr>
            <a:grpSpLocks/>
          </p:cNvGrpSpPr>
          <p:nvPr/>
        </p:nvGrpSpPr>
        <p:grpSpPr bwMode="auto">
          <a:xfrm>
            <a:off x="503238" y="1262063"/>
            <a:ext cx="11185525" cy="881062"/>
            <a:chOff x="503322" y="1057352"/>
            <a:chExt cx="11185357" cy="880947"/>
          </a:xfrm>
        </p:grpSpPr>
        <p:grpSp>
          <p:nvGrpSpPr>
            <p:cNvPr id="16389" name="Группа 43">
              <a:extLst>
                <a:ext uri="{FF2B5EF4-FFF2-40B4-BE49-F238E27FC236}">
                  <a16:creationId xmlns:a16="http://schemas.microsoft.com/office/drawing/2014/main" id="{F29BC796-0408-9A34-0AE9-24E8D8B861E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3322" y="1057352"/>
              <a:ext cx="11185357" cy="880947"/>
              <a:chOff x="638378" y="1057352"/>
              <a:chExt cx="11185357" cy="880947"/>
            </a:xfrm>
          </p:grpSpPr>
          <p:sp>
            <p:nvSpPr>
              <p:cNvPr id="4" name="Скругленный прямоугольник 3">
                <a:extLst>
                  <a:ext uri="{FF2B5EF4-FFF2-40B4-BE49-F238E27FC236}">
                    <a16:creationId xmlns:a16="http://schemas.microsoft.com/office/drawing/2014/main" id="{6CDAE013-70CB-0C77-CEF6-1803AF5F8D65}"/>
                  </a:ext>
                </a:extLst>
              </p:cNvPr>
              <p:cNvSpPr/>
              <p:nvPr/>
            </p:nvSpPr>
            <p:spPr bwMode="auto">
              <a:xfrm>
                <a:off x="638378" y="1071637"/>
                <a:ext cx="2581236" cy="866662"/>
              </a:xfrm>
              <a:prstGeom prst="round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300" b="1" dirty="0">
                    <a:solidFill>
                      <a:srgbClr val="28458D"/>
                    </a:solidFill>
                  </a:rPr>
                  <a:t>Федеральные государственные образовательные стандарты (ФГОС) </a:t>
                </a:r>
              </a:p>
            </p:txBody>
          </p:sp>
          <p:sp>
            <p:nvSpPr>
              <p:cNvPr id="8" name="Скругленный прямоугольник 7">
                <a:extLst>
                  <a:ext uri="{FF2B5EF4-FFF2-40B4-BE49-F238E27FC236}">
                    <a16:creationId xmlns:a16="http://schemas.microsoft.com/office/drawing/2014/main" id="{9DAAD02F-3703-7FB9-EBD7-492ADCE28B1D}"/>
                  </a:ext>
                </a:extLst>
              </p:cNvPr>
              <p:cNvSpPr/>
              <p:nvPr/>
            </p:nvSpPr>
            <p:spPr bwMode="auto">
              <a:xfrm>
                <a:off x="3857779" y="1057352"/>
                <a:ext cx="4759254" cy="866662"/>
              </a:xfrm>
              <a:prstGeom prst="round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300" b="1" dirty="0">
                    <a:solidFill>
                      <a:srgbClr val="28458D"/>
                    </a:solidFill>
                  </a:rPr>
                  <a:t>Детализация требований</a:t>
                </a:r>
              </a:p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300" b="1" dirty="0">
                    <a:solidFill>
                      <a:srgbClr val="28458D"/>
                    </a:solidFill>
                  </a:rPr>
                  <a:t>https://edsoo.ru/</a:t>
                </a:r>
                <a:r>
                  <a:rPr lang="ru-RU" sz="1300" b="1" dirty="0">
                    <a:solidFill>
                      <a:srgbClr val="28458D"/>
                    </a:solidFill>
                  </a:rPr>
                  <a:t> </a:t>
                </a:r>
              </a:p>
            </p:txBody>
          </p:sp>
          <p:sp>
            <p:nvSpPr>
              <p:cNvPr id="19" name="Скругленный прямоугольник 18">
                <a:extLst>
                  <a:ext uri="{FF2B5EF4-FFF2-40B4-BE49-F238E27FC236}">
                    <a16:creationId xmlns:a16="http://schemas.microsoft.com/office/drawing/2014/main" id="{6F562D43-021C-AFF0-39ED-05D6EDC22844}"/>
                  </a:ext>
                </a:extLst>
              </p:cNvPr>
              <p:cNvSpPr/>
              <p:nvPr/>
            </p:nvSpPr>
            <p:spPr bwMode="auto">
              <a:xfrm>
                <a:off x="9199636" y="1057352"/>
                <a:ext cx="2624099" cy="866662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300" b="1" dirty="0">
                    <a:solidFill>
                      <a:srgbClr val="28458D"/>
                    </a:solidFill>
                  </a:rPr>
                  <a:t>Тематический классификатор</a:t>
                </a:r>
              </a:p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300" b="1" dirty="0">
                    <a:solidFill>
                      <a:srgbClr val="28458D"/>
                    </a:solidFill>
                  </a:rPr>
                  <a:t>https://tc.edsoo.ru/</a:t>
                </a:r>
              </a:p>
            </p:txBody>
          </p:sp>
        </p:grpSp>
        <p:cxnSp>
          <p:nvCxnSpPr>
            <p:cNvPr id="29" name="Прямая со стрелкой 28">
              <a:extLst>
                <a:ext uri="{FF2B5EF4-FFF2-40B4-BE49-F238E27FC236}">
                  <a16:creationId xmlns:a16="http://schemas.microsoft.com/office/drawing/2014/main" id="{AA191F2B-DC75-43C1-22AB-EDDA0C5592BD}"/>
                </a:ext>
              </a:extLst>
            </p:cNvPr>
            <p:cNvCxnSpPr>
              <a:cxnSpLocks/>
            </p:cNvCxnSpPr>
            <p:nvPr/>
          </p:nvCxnSpPr>
          <p:spPr>
            <a:xfrm>
              <a:off x="3186157" y="1504969"/>
              <a:ext cx="411156" cy="0"/>
            </a:xfrm>
            <a:prstGeom prst="straightConnector1">
              <a:avLst/>
            </a:prstGeom>
            <a:ln w="19050">
              <a:solidFill>
                <a:schemeClr val="bg1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Прямая со стрелкой 33">
              <a:extLst>
                <a:ext uri="{FF2B5EF4-FFF2-40B4-BE49-F238E27FC236}">
                  <a16:creationId xmlns:a16="http://schemas.microsoft.com/office/drawing/2014/main" id="{96621B5E-14F5-11DA-086A-83AE43BAF992}"/>
                </a:ext>
              </a:extLst>
            </p:cNvPr>
            <p:cNvCxnSpPr>
              <a:cxnSpLocks/>
            </p:cNvCxnSpPr>
            <p:nvPr/>
          </p:nvCxnSpPr>
          <p:spPr>
            <a:xfrm>
              <a:off x="8555001" y="1504969"/>
              <a:ext cx="409569" cy="0"/>
            </a:xfrm>
            <a:prstGeom prst="straightConnector1">
              <a:avLst/>
            </a:prstGeom>
            <a:ln w="19050">
              <a:solidFill>
                <a:schemeClr val="bg1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386" name="TextBox 45">
            <a:extLst>
              <a:ext uri="{FF2B5EF4-FFF2-40B4-BE49-F238E27FC236}">
                <a16:creationId xmlns:a16="http://schemas.microsoft.com/office/drawing/2014/main" id="{C272D871-6F7A-A8B3-5CA9-F48E8FA7F51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4650" y="398463"/>
            <a:ext cx="10390188" cy="409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85000"/>
              </a:lnSpc>
            </a:pPr>
            <a:r>
              <a:rPr lang="ru-RU" altLang="ru-RU" sz="2400" b="1" dirty="0">
                <a:solidFill>
                  <a:schemeClr val="bg1"/>
                </a:solidFill>
                <a:cs typeface="Open Sans Condensed" pitchFamily="2" charset="0"/>
              </a:rPr>
              <a:t>Основания принятия нового Федерального перечня учебников</a:t>
            </a:r>
          </a:p>
        </p:txBody>
      </p:sp>
      <p:sp>
        <p:nvSpPr>
          <p:cNvPr id="16387" name="TextBox 48">
            <a:extLst>
              <a:ext uri="{FF2B5EF4-FFF2-40B4-BE49-F238E27FC236}">
                <a16:creationId xmlns:a16="http://schemas.microsoft.com/office/drawing/2014/main" id="{812B7DB1-35CF-3C3B-3522-52F84C0E85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5552" y="5106241"/>
            <a:ext cx="360017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ru-RU" altLang="ru-RU" b="1" dirty="0">
                <a:solidFill>
                  <a:srgbClr val="28458D"/>
                </a:solidFill>
              </a:rPr>
              <a:t>Обновление содержания УМК 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527050" y="2465461"/>
            <a:ext cx="11185525" cy="2066528"/>
            <a:chOff x="503238" y="2292353"/>
            <a:chExt cx="11185525" cy="2066528"/>
          </a:xfrm>
        </p:grpSpPr>
        <p:sp>
          <p:nvSpPr>
            <p:cNvPr id="39" name="Скругленный прямоугольник 38">
              <a:extLst>
                <a:ext uri="{FF2B5EF4-FFF2-40B4-BE49-F238E27FC236}">
                  <a16:creationId xmlns:a16="http://schemas.microsoft.com/office/drawing/2014/main" id="{74423326-8D26-2DF2-1C7A-A724127E45F3}"/>
                </a:ext>
              </a:extLst>
            </p:cNvPr>
            <p:cNvSpPr/>
            <p:nvPr/>
          </p:nvSpPr>
          <p:spPr bwMode="auto">
            <a:xfrm>
              <a:off x="503238" y="3717516"/>
              <a:ext cx="2581275" cy="641365"/>
            </a:xfrm>
            <a:prstGeom prst="round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900" b="1" dirty="0">
                  <a:solidFill>
                    <a:schemeClr val="bg1"/>
                  </a:solidFill>
                </a:rPr>
                <a:t>ФГОС среднего общего образования (СОО)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900" dirty="0">
                  <a:solidFill>
                    <a:schemeClr val="bg1"/>
                  </a:solidFill>
                </a:rPr>
                <a:t>вступает в силу  с 01.09.2023</a:t>
              </a:r>
              <a:r>
                <a:rPr lang="ru-RU" sz="900" baseline="30000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40" name="Скругленный прямоугольник 39">
              <a:extLst>
                <a:ext uri="{FF2B5EF4-FFF2-40B4-BE49-F238E27FC236}">
                  <a16:creationId xmlns:a16="http://schemas.microsoft.com/office/drawing/2014/main" id="{BAE21ECC-1C43-F18A-E6A9-A2C643CD444E}"/>
                </a:ext>
              </a:extLst>
            </p:cNvPr>
            <p:cNvSpPr/>
            <p:nvPr/>
          </p:nvSpPr>
          <p:spPr bwMode="auto">
            <a:xfrm>
              <a:off x="3722688" y="3709584"/>
              <a:ext cx="2222500" cy="646756"/>
            </a:xfrm>
            <a:prstGeom prst="round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900" dirty="0">
                <a:solidFill>
                  <a:schemeClr val="bg1"/>
                </a:solidFill>
              </a:endParaRPr>
            </a:p>
          </p:txBody>
        </p:sp>
        <p:sp>
          <p:nvSpPr>
            <p:cNvPr id="41" name="Скругленный прямоугольник 40">
              <a:extLst>
                <a:ext uri="{FF2B5EF4-FFF2-40B4-BE49-F238E27FC236}">
                  <a16:creationId xmlns:a16="http://schemas.microsoft.com/office/drawing/2014/main" id="{A24628BC-152A-A36B-6C4D-839FDD8BEBB4}"/>
                </a:ext>
              </a:extLst>
            </p:cNvPr>
            <p:cNvSpPr/>
            <p:nvPr/>
          </p:nvSpPr>
          <p:spPr bwMode="auto">
            <a:xfrm>
              <a:off x="6048375" y="3709584"/>
              <a:ext cx="2433638" cy="646756"/>
            </a:xfrm>
            <a:prstGeom prst="round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900" dirty="0">
                  <a:solidFill>
                    <a:schemeClr val="bg1"/>
                  </a:solidFill>
                </a:rPr>
                <a:t>Примерные рабочие программы по учебным предметам / курсам СОО</a:t>
              </a:r>
            </a:p>
          </p:txBody>
        </p:sp>
        <p:sp>
          <p:nvSpPr>
            <p:cNvPr id="42" name="Скругленный прямоугольник 41">
              <a:extLst>
                <a:ext uri="{FF2B5EF4-FFF2-40B4-BE49-F238E27FC236}">
                  <a16:creationId xmlns:a16="http://schemas.microsoft.com/office/drawing/2014/main" id="{47657AD5-A246-4178-5F02-6F25D65E3ED1}"/>
                </a:ext>
              </a:extLst>
            </p:cNvPr>
            <p:cNvSpPr/>
            <p:nvPr/>
          </p:nvSpPr>
          <p:spPr bwMode="auto">
            <a:xfrm>
              <a:off x="503238" y="2292353"/>
              <a:ext cx="2581275" cy="588546"/>
            </a:xfrm>
            <a:prstGeom prst="round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900" b="1" dirty="0">
                  <a:solidFill>
                    <a:schemeClr val="bg1"/>
                  </a:solidFill>
                </a:rPr>
                <a:t>ФГОС начального общего образования (НОО)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900" dirty="0">
                  <a:solidFill>
                    <a:schemeClr val="bg1"/>
                  </a:solidFill>
                </a:rPr>
                <a:t>вступил в силу с 01.09.2022</a:t>
              </a:r>
            </a:p>
          </p:txBody>
        </p:sp>
        <p:sp>
          <p:nvSpPr>
            <p:cNvPr id="43" name="Скругленный прямоугольник 42">
              <a:extLst>
                <a:ext uri="{FF2B5EF4-FFF2-40B4-BE49-F238E27FC236}">
                  <a16:creationId xmlns:a16="http://schemas.microsoft.com/office/drawing/2014/main" id="{DC787F60-C417-8C40-CEED-6D0414855453}"/>
                </a:ext>
              </a:extLst>
            </p:cNvPr>
            <p:cNvSpPr/>
            <p:nvPr/>
          </p:nvSpPr>
          <p:spPr bwMode="auto">
            <a:xfrm>
              <a:off x="503238" y="3025715"/>
              <a:ext cx="2581275" cy="588546"/>
            </a:xfrm>
            <a:prstGeom prst="round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900" b="1" dirty="0">
                  <a:solidFill>
                    <a:schemeClr val="bg1"/>
                  </a:solidFill>
                </a:rPr>
                <a:t>ФГОС основного общего образования (ООО)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900" dirty="0">
                  <a:solidFill>
                    <a:schemeClr val="bg1"/>
                  </a:solidFill>
                </a:rPr>
                <a:t>вступил в силу с 01.09.2022</a:t>
              </a:r>
            </a:p>
          </p:txBody>
        </p:sp>
        <p:sp>
          <p:nvSpPr>
            <p:cNvPr id="44" name="Скругленный прямоугольник 43">
              <a:extLst>
                <a:ext uri="{FF2B5EF4-FFF2-40B4-BE49-F238E27FC236}">
                  <a16:creationId xmlns:a16="http://schemas.microsoft.com/office/drawing/2014/main" id="{121E17CB-48BB-93C2-6544-941062E51632}"/>
                </a:ext>
              </a:extLst>
            </p:cNvPr>
            <p:cNvSpPr/>
            <p:nvPr/>
          </p:nvSpPr>
          <p:spPr bwMode="auto">
            <a:xfrm>
              <a:off x="3722688" y="2301879"/>
              <a:ext cx="2222500" cy="588546"/>
            </a:xfrm>
            <a:prstGeom prst="round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900" dirty="0">
                  <a:solidFill>
                    <a:schemeClr val="bg1"/>
                  </a:solidFill>
                </a:rPr>
                <a:t>Примерная основная образовательная программа НОО</a:t>
              </a:r>
              <a:r>
                <a:rPr lang="ru-RU" sz="900" baseline="30000" dirty="0">
                  <a:solidFill>
                    <a:schemeClr val="bg1"/>
                  </a:solidFill>
                </a:rPr>
                <a:t>2</a:t>
              </a:r>
              <a:endParaRPr lang="ru-RU" sz="900" dirty="0">
                <a:solidFill>
                  <a:schemeClr val="bg1"/>
                </a:solidFill>
              </a:endParaRPr>
            </a:p>
          </p:txBody>
        </p:sp>
        <p:sp>
          <p:nvSpPr>
            <p:cNvPr id="45" name="Скругленный прямоугольник 44">
              <a:extLst>
                <a:ext uri="{FF2B5EF4-FFF2-40B4-BE49-F238E27FC236}">
                  <a16:creationId xmlns:a16="http://schemas.microsoft.com/office/drawing/2014/main" id="{CF87097E-B099-7A78-8FFB-FCE1DAB3A13E}"/>
                </a:ext>
              </a:extLst>
            </p:cNvPr>
            <p:cNvSpPr/>
            <p:nvPr/>
          </p:nvSpPr>
          <p:spPr bwMode="auto">
            <a:xfrm>
              <a:off x="3722688" y="3035241"/>
              <a:ext cx="2222500" cy="588546"/>
            </a:xfrm>
            <a:prstGeom prst="round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900" dirty="0">
                <a:solidFill>
                  <a:schemeClr val="bg1"/>
                </a:solidFill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900" dirty="0">
                  <a:solidFill>
                    <a:schemeClr val="bg1"/>
                  </a:solidFill>
                </a:rPr>
                <a:t>Примерная основная образовательная программа ООО</a:t>
              </a:r>
              <a:r>
                <a:rPr lang="ru-RU" sz="900" baseline="30000" dirty="0">
                  <a:solidFill>
                    <a:schemeClr val="bg1"/>
                  </a:solidFill>
                </a:rPr>
                <a:t>2</a:t>
              </a:r>
              <a:endParaRPr lang="ru-RU" sz="900" dirty="0">
                <a:solidFill>
                  <a:schemeClr val="bg1"/>
                </a:solidFill>
              </a:endParaRPr>
            </a:p>
          </p:txBody>
        </p:sp>
        <p:sp>
          <p:nvSpPr>
            <p:cNvPr id="46" name="TextBox 26">
              <a:extLst>
                <a:ext uri="{FF2B5EF4-FFF2-40B4-BE49-F238E27FC236}">
                  <a16:creationId xmlns:a16="http://schemas.microsoft.com/office/drawing/2014/main" id="{4BEE9865-DD62-9C6C-F0DA-BAC7E456B86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67125" y="3883475"/>
              <a:ext cx="232906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/>
              <a:r>
                <a:rPr lang="ru-RU" altLang="ru-RU" sz="900" dirty="0">
                  <a:solidFill>
                    <a:schemeClr val="bg1"/>
                  </a:solidFill>
                </a:rPr>
                <a:t>Примерная основная образовательная программа СОО</a:t>
              </a:r>
              <a:r>
                <a:rPr lang="ru-RU" altLang="ru-RU" sz="900" baseline="30000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47" name="Скругленный прямоугольник 46">
              <a:extLst>
                <a:ext uri="{FF2B5EF4-FFF2-40B4-BE49-F238E27FC236}">
                  <a16:creationId xmlns:a16="http://schemas.microsoft.com/office/drawing/2014/main" id="{6D91BC67-1147-83F6-D3C5-B0BE2254D7A4}"/>
                </a:ext>
              </a:extLst>
            </p:cNvPr>
            <p:cNvSpPr/>
            <p:nvPr/>
          </p:nvSpPr>
          <p:spPr bwMode="auto">
            <a:xfrm>
              <a:off x="6048375" y="2301879"/>
              <a:ext cx="2433638" cy="588546"/>
            </a:xfrm>
            <a:prstGeom prst="round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900" dirty="0">
                  <a:solidFill>
                    <a:schemeClr val="bg1"/>
                  </a:solidFill>
                </a:rPr>
                <a:t>Примерные рабочие программы по учебным предметам НОО</a:t>
              </a:r>
              <a:r>
                <a:rPr lang="ru-RU" sz="900" baseline="30000" dirty="0">
                  <a:solidFill>
                    <a:schemeClr val="bg1"/>
                  </a:solidFill>
                </a:rPr>
                <a:t>4</a:t>
              </a:r>
              <a:endParaRPr lang="ru-RU" sz="900" dirty="0">
                <a:solidFill>
                  <a:schemeClr val="bg1"/>
                </a:solidFill>
              </a:endParaRPr>
            </a:p>
          </p:txBody>
        </p:sp>
        <p:sp>
          <p:nvSpPr>
            <p:cNvPr id="48" name="Скругленный прямоугольник 47">
              <a:extLst>
                <a:ext uri="{FF2B5EF4-FFF2-40B4-BE49-F238E27FC236}">
                  <a16:creationId xmlns:a16="http://schemas.microsoft.com/office/drawing/2014/main" id="{C22573D7-3E66-099C-E672-FAB0B29965C0}"/>
                </a:ext>
              </a:extLst>
            </p:cNvPr>
            <p:cNvSpPr/>
            <p:nvPr/>
          </p:nvSpPr>
          <p:spPr bwMode="auto">
            <a:xfrm>
              <a:off x="6048375" y="3035241"/>
              <a:ext cx="2433638" cy="588546"/>
            </a:xfrm>
            <a:prstGeom prst="round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900" dirty="0">
                  <a:solidFill>
                    <a:schemeClr val="bg1"/>
                  </a:solidFill>
                </a:rPr>
                <a:t>Примерные рабочие программы по учебным предметам ООО</a:t>
              </a:r>
              <a:r>
                <a:rPr lang="ru-RU" sz="900" baseline="30000" dirty="0">
                  <a:solidFill>
                    <a:schemeClr val="bg1"/>
                  </a:solidFill>
                </a:rPr>
                <a:t>5</a:t>
              </a:r>
              <a:r>
                <a:rPr lang="ru-RU" sz="900" dirty="0">
                  <a:solidFill>
                    <a:schemeClr val="bg1"/>
                  </a:solidFill>
                </a:rPr>
                <a:t>,</a:t>
              </a:r>
              <a:endParaRPr lang="en-US" sz="900" dirty="0">
                <a:solidFill>
                  <a:schemeClr val="bg1"/>
                </a:solidFill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900" dirty="0">
                  <a:solidFill>
                    <a:schemeClr val="bg1"/>
                  </a:solidFill>
                </a:rPr>
                <a:t>в том числе </a:t>
              </a:r>
              <a:r>
                <a:rPr lang="ru-RU" sz="900" b="1" dirty="0">
                  <a:solidFill>
                    <a:schemeClr val="bg1"/>
                  </a:solidFill>
                </a:rPr>
                <a:t>для базового</a:t>
              </a:r>
              <a:endParaRPr lang="en-US" sz="900" b="1" dirty="0">
                <a:solidFill>
                  <a:schemeClr val="bg1"/>
                </a:solidFill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900" b="1" dirty="0">
                  <a:solidFill>
                    <a:schemeClr val="bg1"/>
                  </a:solidFill>
                </a:rPr>
                <a:t>и углублённого уровней</a:t>
              </a:r>
              <a:endParaRPr lang="ru-RU" sz="900" dirty="0">
                <a:solidFill>
                  <a:schemeClr val="bg1"/>
                </a:solidFill>
              </a:endParaRPr>
            </a:p>
          </p:txBody>
        </p:sp>
        <p:sp>
          <p:nvSpPr>
            <p:cNvPr id="49" name="Скругленный прямоугольник 48">
              <a:extLst>
                <a:ext uri="{FF2B5EF4-FFF2-40B4-BE49-F238E27FC236}">
                  <a16:creationId xmlns:a16="http://schemas.microsoft.com/office/drawing/2014/main" id="{FF19AEC6-631B-4F8F-5973-CDB048E8BF0C}"/>
                </a:ext>
              </a:extLst>
            </p:cNvPr>
            <p:cNvSpPr/>
            <p:nvPr/>
          </p:nvSpPr>
          <p:spPr bwMode="auto">
            <a:xfrm>
              <a:off x="9064625" y="2351092"/>
              <a:ext cx="2624138" cy="558364"/>
            </a:xfrm>
            <a:prstGeom prst="round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900" dirty="0">
                  <a:solidFill>
                    <a:schemeClr val="bg1"/>
                  </a:solidFill>
                </a:rPr>
                <a:t>Тематический классификатор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51" name="Скругленный прямоугольник 50">
              <a:extLst>
                <a:ext uri="{FF2B5EF4-FFF2-40B4-BE49-F238E27FC236}">
                  <a16:creationId xmlns:a16="http://schemas.microsoft.com/office/drawing/2014/main" id="{1893F4F7-F776-CC0A-8D1C-12E714D8D270}"/>
                </a:ext>
              </a:extLst>
            </p:cNvPr>
            <p:cNvSpPr/>
            <p:nvPr/>
          </p:nvSpPr>
          <p:spPr bwMode="auto">
            <a:xfrm>
              <a:off x="9064625" y="3108265"/>
              <a:ext cx="2597150" cy="558364"/>
            </a:xfrm>
            <a:prstGeom prst="round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900" dirty="0">
                  <a:solidFill>
                    <a:schemeClr val="bg1"/>
                  </a:solidFill>
                </a:rPr>
                <a:t>Тематический классификатор</a:t>
              </a:r>
              <a:endParaRPr lang="en-US" sz="900" dirty="0">
                <a:solidFill>
                  <a:schemeClr val="bg1"/>
                </a:solidFill>
              </a:endParaRPr>
            </a:p>
          </p:txBody>
        </p:sp>
        <p:sp>
          <p:nvSpPr>
            <p:cNvPr id="52" name="Скругленный прямоугольник 51">
              <a:extLst>
                <a:ext uri="{FF2B5EF4-FFF2-40B4-BE49-F238E27FC236}">
                  <a16:creationId xmlns:a16="http://schemas.microsoft.com/office/drawing/2014/main" id="{912D92C9-708E-682D-C1E0-B06B660B904A}"/>
                </a:ext>
              </a:extLst>
            </p:cNvPr>
            <p:cNvSpPr/>
            <p:nvPr/>
          </p:nvSpPr>
          <p:spPr bwMode="auto">
            <a:xfrm>
              <a:off x="9064625" y="3788959"/>
              <a:ext cx="2624138" cy="558364"/>
            </a:xfrm>
            <a:prstGeom prst="roundRect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900" dirty="0">
                  <a:solidFill>
                    <a:schemeClr val="bg1"/>
                  </a:solidFill>
                </a:rPr>
                <a:t>Тематический классификатор</a:t>
              </a:r>
              <a:endParaRPr lang="en-US" sz="900" dirty="0">
                <a:solidFill>
                  <a:schemeClr val="bg1"/>
                </a:solidFill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900" dirty="0">
                  <a:solidFill>
                    <a:schemeClr val="bg1"/>
                  </a:solidFill>
                </a:rPr>
                <a:t>(в разработке)</a:t>
              </a:r>
            </a:p>
          </p:txBody>
        </p:sp>
        <p:cxnSp>
          <p:nvCxnSpPr>
            <p:cNvPr id="53" name="Прямая со стрелкой 52">
              <a:extLst>
                <a:ext uri="{FF2B5EF4-FFF2-40B4-BE49-F238E27FC236}">
                  <a16:creationId xmlns:a16="http://schemas.microsoft.com/office/drawing/2014/main" id="{FEA97D2C-50FD-14CD-3CDC-2C2036EBB8E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186113" y="2752727"/>
              <a:ext cx="411162" cy="0"/>
            </a:xfrm>
            <a:prstGeom prst="straightConnector1">
              <a:avLst/>
            </a:prstGeom>
            <a:ln w="19050">
              <a:solidFill>
                <a:schemeClr val="bg1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Прямая со стрелкой 53">
              <a:extLst>
                <a:ext uri="{FF2B5EF4-FFF2-40B4-BE49-F238E27FC236}">
                  <a16:creationId xmlns:a16="http://schemas.microsoft.com/office/drawing/2014/main" id="{EBF202A7-598B-0C2C-7570-71D18E68CF0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186113" y="3360934"/>
              <a:ext cx="411162" cy="0"/>
            </a:xfrm>
            <a:prstGeom prst="straightConnector1">
              <a:avLst/>
            </a:prstGeom>
            <a:ln w="19050">
              <a:solidFill>
                <a:schemeClr val="bg1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Прямая со стрелкой 54">
              <a:extLst>
                <a:ext uri="{FF2B5EF4-FFF2-40B4-BE49-F238E27FC236}">
                  <a16:creationId xmlns:a16="http://schemas.microsoft.com/office/drawing/2014/main" id="{1BF87094-1E91-6E0F-7E9B-6500ED14C2A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186113" y="4058803"/>
              <a:ext cx="411162" cy="0"/>
            </a:xfrm>
            <a:prstGeom prst="straightConnector1">
              <a:avLst/>
            </a:prstGeom>
            <a:ln w="19050">
              <a:solidFill>
                <a:schemeClr val="bg1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Прямая со стрелкой 55">
              <a:extLst>
                <a:ext uri="{FF2B5EF4-FFF2-40B4-BE49-F238E27FC236}">
                  <a16:creationId xmlns:a16="http://schemas.microsoft.com/office/drawing/2014/main" id="{B37E9E5B-ECC3-5FB3-969A-3D839964F5B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555038" y="2752727"/>
              <a:ext cx="409575" cy="0"/>
            </a:xfrm>
            <a:prstGeom prst="straightConnector1">
              <a:avLst/>
            </a:prstGeom>
            <a:ln w="19050">
              <a:solidFill>
                <a:schemeClr val="bg1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Прямая со стрелкой 56">
              <a:extLst>
                <a:ext uri="{FF2B5EF4-FFF2-40B4-BE49-F238E27FC236}">
                  <a16:creationId xmlns:a16="http://schemas.microsoft.com/office/drawing/2014/main" id="{2FF419D4-449A-9A0F-0E5D-4D07EAC558E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555038" y="3360934"/>
              <a:ext cx="409575" cy="0"/>
            </a:xfrm>
            <a:prstGeom prst="straightConnector1">
              <a:avLst/>
            </a:prstGeom>
            <a:ln w="19050">
              <a:solidFill>
                <a:schemeClr val="bg1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Прямая со стрелкой 57">
              <a:extLst>
                <a:ext uri="{FF2B5EF4-FFF2-40B4-BE49-F238E27FC236}">
                  <a16:creationId xmlns:a16="http://schemas.microsoft.com/office/drawing/2014/main" id="{29224207-6C6F-0F54-23CC-5ECE569316C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8555038" y="4058803"/>
              <a:ext cx="409575" cy="0"/>
            </a:xfrm>
            <a:prstGeom prst="straightConnector1">
              <a:avLst/>
            </a:prstGeom>
            <a:ln w="19050">
              <a:solidFill>
                <a:schemeClr val="bg1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TextBox 58"/>
          <p:cNvSpPr txBox="1"/>
          <p:nvPr/>
        </p:nvSpPr>
        <p:spPr>
          <a:xfrm>
            <a:off x="675212" y="5772469"/>
            <a:ext cx="880317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aseline="30000" dirty="0">
                <a:solidFill>
                  <a:schemeClr val="bg1"/>
                </a:solidFill>
              </a:rPr>
              <a:t>1 </a:t>
            </a:r>
            <a:r>
              <a:rPr lang="ru-RU" sz="800" dirty="0">
                <a:solidFill>
                  <a:schemeClr val="bg1"/>
                </a:solidFill>
              </a:rPr>
              <a:t>Приказ  </a:t>
            </a:r>
            <a:r>
              <a:rPr lang="ru-RU" sz="800" dirty="0" err="1">
                <a:solidFill>
                  <a:schemeClr val="bg1"/>
                </a:solidFill>
              </a:rPr>
              <a:t>Минпросвещения</a:t>
            </a:r>
            <a:r>
              <a:rPr lang="ru-RU" sz="800" dirty="0">
                <a:solidFill>
                  <a:schemeClr val="bg1"/>
                </a:solidFill>
              </a:rPr>
              <a:t> России от 12.08.2022 № 732 с внесёнными изменениями </a:t>
            </a:r>
          </a:p>
          <a:p>
            <a:r>
              <a:rPr lang="ru-RU" sz="800" baseline="30000" dirty="0">
                <a:solidFill>
                  <a:schemeClr val="bg1"/>
                </a:solidFill>
              </a:rPr>
              <a:t>2</a:t>
            </a:r>
            <a:r>
              <a:rPr lang="ru-RU" sz="800" dirty="0">
                <a:solidFill>
                  <a:schemeClr val="bg1"/>
                </a:solidFill>
              </a:rPr>
              <a:t> Одобрена решением федерального учебно-методического объединения по общему образованию, протокол 6/22 от 15.09.2022 г.</a:t>
            </a:r>
          </a:p>
          <a:p>
            <a:r>
              <a:rPr lang="ru-RU" sz="800" baseline="30000" dirty="0">
                <a:solidFill>
                  <a:schemeClr val="bg1"/>
                </a:solidFill>
              </a:rPr>
              <a:t>3 </a:t>
            </a:r>
            <a:r>
              <a:rPr lang="ru-RU" sz="800" dirty="0">
                <a:solidFill>
                  <a:schemeClr val="bg1"/>
                </a:solidFill>
              </a:rPr>
              <a:t>Одобрена решением федерального учебно-методического объединения по общему образованию, протокол 2/16-3 от 28.06.2016 г. Планируется обновление</a:t>
            </a:r>
            <a:endParaRPr lang="ru-RU" sz="800" baseline="30000" dirty="0">
              <a:solidFill>
                <a:schemeClr val="bg1"/>
              </a:solidFill>
            </a:endParaRPr>
          </a:p>
          <a:p>
            <a:r>
              <a:rPr lang="ru-RU" sz="800" baseline="30000" dirty="0">
                <a:solidFill>
                  <a:schemeClr val="bg1"/>
                </a:solidFill>
              </a:rPr>
              <a:t>4 </a:t>
            </a:r>
            <a:r>
              <a:rPr lang="ru-RU" sz="800" dirty="0">
                <a:solidFill>
                  <a:schemeClr val="bg1"/>
                </a:solidFill>
              </a:rPr>
              <a:t>Одобрены решением федерального учебно-методического объединения по общему образованию, протокол № 3/21 от 27.09.2021 г. </a:t>
            </a:r>
          </a:p>
          <a:p>
            <a:r>
              <a:rPr lang="ru-RU" sz="800" baseline="30000" dirty="0">
                <a:solidFill>
                  <a:schemeClr val="bg1"/>
                </a:solidFill>
              </a:rPr>
              <a:t>5 </a:t>
            </a:r>
            <a:r>
              <a:rPr lang="ru-RU" sz="800" dirty="0">
                <a:solidFill>
                  <a:schemeClr val="bg1"/>
                </a:solidFill>
              </a:rPr>
              <a:t>Одобрены решением федерального учебно-методического объединения по общему образованию, протоколы № 3/21 от 27.09.2021 г.,</a:t>
            </a:r>
            <a:r>
              <a:rPr lang="en-US" sz="800" dirty="0">
                <a:solidFill>
                  <a:schemeClr val="bg1"/>
                </a:solidFill>
              </a:rPr>
              <a:t> </a:t>
            </a:r>
            <a:r>
              <a:rPr lang="ru-RU" sz="800" dirty="0">
                <a:solidFill>
                  <a:schemeClr val="bg1"/>
                </a:solidFill>
              </a:rPr>
              <a:t>№ 2/22 от 29.04.2022 г.,  № 3/22 от 23.06.2022 г. </a:t>
            </a:r>
          </a:p>
          <a:p>
            <a:endParaRPr lang="ru-RU" sz="800" dirty="0">
              <a:solidFill>
                <a:schemeClr val="bg1"/>
              </a:solidFill>
            </a:endParaRPr>
          </a:p>
        </p:txBody>
      </p:sp>
      <p:sp>
        <p:nvSpPr>
          <p:cNvPr id="33" name="Скругленный прямоугольник 32">
            <a:extLst>
              <a:ext uri="{FF2B5EF4-FFF2-40B4-BE49-F238E27FC236}">
                <a16:creationId xmlns:a16="http://schemas.microsoft.com/office/drawing/2014/main" id="{4EF746BA-2529-3432-10DE-052BA9A94808}"/>
              </a:ext>
            </a:extLst>
          </p:cNvPr>
          <p:cNvSpPr/>
          <p:nvPr/>
        </p:nvSpPr>
        <p:spPr>
          <a:xfrm>
            <a:off x="8764438" y="4820211"/>
            <a:ext cx="2948138" cy="88732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KZ"/>
          </a:p>
        </p:txBody>
      </p:sp>
      <p:sp>
        <p:nvSpPr>
          <p:cNvPr id="35" name="TextBox 48">
            <a:extLst>
              <a:ext uri="{FF2B5EF4-FFF2-40B4-BE49-F238E27FC236}">
                <a16:creationId xmlns:a16="http://schemas.microsoft.com/office/drawing/2014/main" id="{812B7DB1-35CF-3C3B-3522-52F84C0E85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76225" y="5106241"/>
            <a:ext cx="19245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ru-RU" altLang="ru-RU" b="1" dirty="0">
                <a:solidFill>
                  <a:srgbClr val="28458D"/>
                </a:solidFill>
              </a:rPr>
              <a:t>Новый ФПУ</a:t>
            </a:r>
          </a:p>
        </p:txBody>
      </p:sp>
      <p:cxnSp>
        <p:nvCxnSpPr>
          <p:cNvPr id="36" name="Прямая со стрелкой 35">
            <a:extLst>
              <a:ext uri="{FF2B5EF4-FFF2-40B4-BE49-F238E27FC236}">
                <a16:creationId xmlns:a16="http://schemas.microsoft.com/office/drawing/2014/main" id="{1BF87094-1E91-6E0F-7E9B-6500ED14C2A7}"/>
              </a:ext>
            </a:extLst>
          </p:cNvPr>
          <p:cNvCxnSpPr>
            <a:cxnSpLocks/>
          </p:cNvCxnSpPr>
          <p:nvPr/>
        </p:nvCxnSpPr>
        <p:spPr bwMode="auto">
          <a:xfrm>
            <a:off x="8225559" y="5230641"/>
            <a:ext cx="411162" cy="0"/>
          </a:xfrm>
          <a:prstGeom prst="straightConnector1">
            <a:avLst/>
          </a:prstGeom>
          <a:ln w="19050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Скругленный прямоугольник 36">
            <a:extLst>
              <a:ext uri="{FF2B5EF4-FFF2-40B4-BE49-F238E27FC236}">
                <a16:creationId xmlns:a16="http://schemas.microsoft.com/office/drawing/2014/main" id="{4EF746BA-2529-3432-10DE-052BA9A94808}"/>
              </a:ext>
            </a:extLst>
          </p:cNvPr>
          <p:cNvSpPr/>
          <p:nvPr/>
        </p:nvSpPr>
        <p:spPr>
          <a:xfrm>
            <a:off x="5149704" y="4820211"/>
            <a:ext cx="2948138" cy="887320"/>
          </a:xfrm>
          <a:prstGeom prst="round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KZ"/>
          </a:p>
        </p:txBody>
      </p:sp>
      <p:sp>
        <p:nvSpPr>
          <p:cNvPr id="60" name="TextBox 48">
            <a:extLst>
              <a:ext uri="{FF2B5EF4-FFF2-40B4-BE49-F238E27FC236}">
                <a16:creationId xmlns:a16="http://schemas.microsoft.com/office/drawing/2014/main" id="{812B7DB1-35CF-3C3B-3522-52F84C0E85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60310" y="4967742"/>
            <a:ext cx="192456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ru-RU" altLang="ru-RU" b="1" dirty="0">
                <a:solidFill>
                  <a:srgbClr val="28458D"/>
                </a:solidFill>
              </a:rPr>
              <a:t>Государственная экспертиза </a:t>
            </a:r>
          </a:p>
        </p:txBody>
      </p:sp>
      <p:cxnSp>
        <p:nvCxnSpPr>
          <p:cNvPr id="61" name="Прямая со стрелкой 60">
            <a:extLst>
              <a:ext uri="{FF2B5EF4-FFF2-40B4-BE49-F238E27FC236}">
                <a16:creationId xmlns:a16="http://schemas.microsoft.com/office/drawing/2014/main" id="{1BF87094-1E91-6E0F-7E9B-6500ED14C2A7}"/>
              </a:ext>
            </a:extLst>
          </p:cNvPr>
          <p:cNvCxnSpPr>
            <a:cxnSpLocks/>
          </p:cNvCxnSpPr>
          <p:nvPr/>
        </p:nvCxnSpPr>
        <p:spPr bwMode="auto">
          <a:xfrm>
            <a:off x="4565083" y="5230641"/>
            <a:ext cx="411162" cy="0"/>
          </a:xfrm>
          <a:prstGeom prst="straightConnector1">
            <a:avLst/>
          </a:prstGeom>
          <a:ln w="19050">
            <a:solidFill>
              <a:schemeClr val="bg1"/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18823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06986"/>
            <a:ext cx="6477000" cy="4505325"/>
          </a:xfrm>
          <a:prstGeom prst="rect">
            <a:avLst/>
          </a:prstGeom>
        </p:spPr>
      </p:pic>
      <p:sp>
        <p:nvSpPr>
          <p:cNvPr id="7" name="Прямоугольник 3">
            <a:extLst>
              <a:ext uri="{FF2B5EF4-FFF2-40B4-BE49-F238E27FC236}">
                <a16:creationId xmlns:a16="http://schemas.microsoft.com/office/drawing/2014/main" id="{20D776D5-02D0-342B-83AE-AE5309E5E0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9930" y="184031"/>
            <a:ext cx="10701338" cy="722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Федеральный перечень учебников. </a:t>
            </a:r>
          </a:p>
          <a:p>
            <a:pPr eaLnBrk="1" hangingPunct="1"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Приказ № 858 от 21.09.2022 </a:t>
            </a:r>
          </a:p>
        </p:txBody>
      </p:sp>
      <p:sp>
        <p:nvSpPr>
          <p:cNvPr id="8" name="Прямоугольник 25">
            <a:extLst>
              <a:ext uri="{FF2B5EF4-FFF2-40B4-BE49-F238E27FC236}">
                <a16:creationId xmlns:a16="http://schemas.microsoft.com/office/drawing/2014/main" id="{344FE669-13AC-7AC4-D6B5-59D91E07C5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38345" y="1193842"/>
            <a:ext cx="5077432" cy="305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1450" indent="-1714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indent="0" eaLnBrk="1" hangingPunct="1">
              <a:spcAft>
                <a:spcPts val="600"/>
              </a:spcAft>
              <a:buClr>
                <a:srgbClr val="28458D"/>
              </a:buClr>
              <a:buSzPct val="120000"/>
            </a:pPr>
            <a:r>
              <a:rPr lang="ru-RU" altLang="ru-RU" sz="1400" b="1" dirty="0">
                <a:solidFill>
                  <a:srgbClr val="28458D"/>
                </a:solidFill>
                <a:cs typeface="Open Sans Light" pitchFamily="2" charset="0"/>
              </a:rPr>
              <a:t>Федеральный перечень учебников содержит 3 приложения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6782637" y="1934383"/>
            <a:ext cx="518884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28458D"/>
                </a:solidFill>
                <a:cs typeface="Open Sans Light" pitchFamily="2" charset="0"/>
              </a:rPr>
              <a:t>Учебники, входящие по состоянию на 31 декабря 2022 года в федеральный перечень учебников, допускаются к использованию на срок действия экспертных заключений (пять лет)*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145888" y="3123230"/>
            <a:ext cx="48255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000" dirty="0"/>
              <a:t>*Федеральный закон «О внесении изменений в Федеральный закон «Об образовании в Российской Федерации» от 24.09.2022 № 371-ФЗ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7728937" y="3849385"/>
            <a:ext cx="42425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dirty="0"/>
              <a:t>Ссылка на приказ: </a:t>
            </a:r>
            <a:r>
              <a:rPr lang="en-US" dirty="0">
                <a:hlinkClick r:id="rId3"/>
              </a:rPr>
              <a:t>https://clck.ru/32YecN</a:t>
            </a:r>
            <a:r>
              <a:rPr lang="ru-RU" dirty="0"/>
              <a:t> </a:t>
            </a:r>
          </a:p>
        </p:txBody>
      </p:sp>
      <p:pic>
        <p:nvPicPr>
          <p:cNvPr id="4098" name="Picture 2" descr="http://disk.yandex.net/qr/?clean=1&amp;text=https://clck.ru/32Yec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54897" y="4382886"/>
            <a:ext cx="1190625" cy="1190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38911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41" name="TextBox 11">
            <a:extLst>
              <a:ext uri="{FF2B5EF4-FFF2-40B4-BE49-F238E27FC236}">
                <a16:creationId xmlns:a16="http://schemas.microsoft.com/office/drawing/2014/main" id="{9E1160CF-9B25-DC38-BFD8-F9DEB24222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14211" y="3516284"/>
            <a:ext cx="2637877" cy="215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ru-RU" altLang="ru-RU" sz="1400" dirty="0">
              <a:solidFill>
                <a:srgbClr val="3B3838"/>
              </a:solidFill>
              <a:cs typeface="Open Sans Light" pitchFamily="2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0566" y="2812657"/>
            <a:ext cx="9603015" cy="3208728"/>
          </a:xfrm>
          <a:prstGeom prst="rect">
            <a:avLst/>
          </a:prstGeom>
        </p:spPr>
      </p:pic>
      <p:sp>
        <p:nvSpPr>
          <p:cNvPr id="18443" name="Прямоугольник 74">
            <a:extLst>
              <a:ext uri="{FF2B5EF4-FFF2-40B4-BE49-F238E27FC236}">
                <a16:creationId xmlns:a16="http://schemas.microsoft.com/office/drawing/2014/main" id="{19B85301-AE55-3819-FADD-7AE0286F69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0594" y="196070"/>
            <a:ext cx="10737042" cy="720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ФПУ – 2022. Приказ № 858 от 21.09.2022 </a:t>
            </a:r>
          </a:p>
          <a:p>
            <a:pPr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Приложение № 1. На что обратить внимание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4"/>
          <a:srcRect l="65" t="-1" r="-1" b="78579"/>
          <a:stretch/>
        </p:blipFill>
        <p:spPr>
          <a:xfrm>
            <a:off x="1887077" y="1647461"/>
            <a:ext cx="10211404" cy="1093827"/>
          </a:xfrm>
          <a:prstGeom prst="rect">
            <a:avLst/>
          </a:prstGeom>
        </p:spPr>
      </p:pic>
      <p:sp>
        <p:nvSpPr>
          <p:cNvPr id="40" name="TextBox 12">
            <a:extLst>
              <a:ext uri="{FF2B5EF4-FFF2-40B4-BE49-F238E27FC236}">
                <a16:creationId xmlns:a16="http://schemas.microsoft.com/office/drawing/2014/main" id="{044D14BE-6FCC-742E-D9F9-C917D08E13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9707" y="1021083"/>
            <a:ext cx="8501907" cy="11922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5750" indent="-285750" algn="just" eaLnBrk="1" hangingPunct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altLang="ru-RU" sz="1600" b="1" dirty="0">
                <a:cs typeface="Open Sans Condensed" pitchFamily="2" charset="0"/>
              </a:rPr>
              <a:t>Реквизиты приказа </a:t>
            </a:r>
            <a:r>
              <a:rPr lang="ru-RU" altLang="ru-RU" sz="1600" dirty="0">
                <a:cs typeface="Open Sans Condensed" pitchFamily="2" charset="0"/>
              </a:rPr>
              <a:t>Министерства просвещения Российской Федерации, утвердившего </a:t>
            </a:r>
            <a:r>
              <a:rPr lang="ru-RU" altLang="ru-RU" sz="1600" b="1" dirty="0">
                <a:cs typeface="Open Sans Condensed" pitchFamily="2" charset="0"/>
              </a:rPr>
              <a:t>ФГОС, которому соответствует учебник</a:t>
            </a:r>
            <a:r>
              <a:rPr lang="ru-RU" altLang="ru-RU" sz="1600" dirty="0">
                <a:cs typeface="Open Sans Condensed" pitchFamily="2" charset="0"/>
              </a:rPr>
              <a:t>.</a:t>
            </a:r>
          </a:p>
          <a:p>
            <a:pPr marL="285750" indent="-285750" algn="just" eaLnBrk="1" hangingPunct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altLang="ru-RU" sz="1600" dirty="0">
                <a:cs typeface="Open Sans Condensed" pitchFamily="2" charset="0"/>
              </a:rPr>
              <a:t>Номер издания учебника. Допускается использование </a:t>
            </a:r>
            <a:r>
              <a:rPr lang="ru-RU" altLang="ru-RU" sz="1600" b="1" dirty="0">
                <a:cs typeface="Open Sans Condensed" pitchFamily="2" charset="0"/>
              </a:rPr>
              <a:t>указанного </a:t>
            </a:r>
            <a:r>
              <a:rPr lang="ru-RU" altLang="ru-RU" sz="1600" dirty="0">
                <a:cs typeface="Open Sans Condensed" pitchFamily="2" charset="0"/>
              </a:rPr>
              <a:t>в Приказе издания, </a:t>
            </a:r>
            <a:r>
              <a:rPr lang="ru-RU" altLang="ru-RU" sz="1600" b="1" dirty="0">
                <a:cs typeface="Open Sans Condensed" pitchFamily="2" charset="0"/>
              </a:rPr>
              <a:t>либо </a:t>
            </a:r>
            <a:r>
              <a:rPr lang="ru-RU" altLang="ru-RU" sz="1600" dirty="0">
                <a:cs typeface="Open Sans Condensed" pitchFamily="2" charset="0"/>
              </a:rPr>
              <a:t>можно использовать </a:t>
            </a:r>
            <a:r>
              <a:rPr lang="ru-RU" altLang="ru-RU" sz="1600" b="1" dirty="0">
                <a:cs typeface="Open Sans Condensed" pitchFamily="2" charset="0"/>
              </a:rPr>
              <a:t>стереотипное  указанному </a:t>
            </a:r>
            <a:r>
              <a:rPr lang="ru-RU" altLang="ru-RU" sz="1600" dirty="0">
                <a:cs typeface="Open Sans Condensed" pitchFamily="2" charset="0"/>
              </a:rPr>
              <a:t>в Приказе</a:t>
            </a:r>
          </a:p>
        </p:txBody>
      </p:sp>
      <p:grpSp>
        <p:nvGrpSpPr>
          <p:cNvPr id="6" name="Группа 5"/>
          <p:cNvGrpSpPr/>
          <p:nvPr/>
        </p:nvGrpSpPr>
        <p:grpSpPr>
          <a:xfrm>
            <a:off x="5184859" y="2585259"/>
            <a:ext cx="1862006" cy="4173849"/>
            <a:chOff x="6542954" y="807923"/>
            <a:chExt cx="2233664" cy="5103931"/>
          </a:xfrm>
        </p:grpSpPr>
        <p:sp>
          <p:nvSpPr>
            <p:cNvPr id="27" name="Скругленный прямоугольник 26">
              <a:extLst>
                <a:ext uri="{FF2B5EF4-FFF2-40B4-BE49-F238E27FC236}">
                  <a16:creationId xmlns:a16="http://schemas.microsoft.com/office/drawing/2014/main" id="{90EDB855-ABD9-6F21-2ADC-AC7F5D02197B}"/>
                </a:ext>
              </a:extLst>
            </p:cNvPr>
            <p:cNvSpPr/>
            <p:nvPr/>
          </p:nvSpPr>
          <p:spPr>
            <a:xfrm>
              <a:off x="6542954" y="807923"/>
              <a:ext cx="2233664" cy="5103931"/>
            </a:xfrm>
            <a:prstGeom prst="roundRect">
              <a:avLst>
                <a:gd name="adj" fmla="val 7281"/>
              </a:avLst>
            </a:prstGeom>
            <a:solidFill>
              <a:schemeClr val="bg1"/>
            </a:solidFill>
            <a:ln w="19050">
              <a:solidFill>
                <a:srgbClr val="2845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KZ"/>
            </a:p>
          </p:txBody>
        </p:sp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631997" y="919025"/>
              <a:ext cx="2079740" cy="4933135"/>
            </a:xfrm>
            <a:prstGeom prst="rect">
              <a:avLst/>
            </a:prstGeom>
          </p:spPr>
        </p:pic>
      </p:grp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F68916EE-7F83-C5E6-695A-6D66B175E636}"/>
              </a:ext>
            </a:extLst>
          </p:cNvPr>
          <p:cNvSpPr/>
          <p:nvPr/>
        </p:nvSpPr>
        <p:spPr>
          <a:xfrm>
            <a:off x="132408" y="897007"/>
            <a:ext cx="10117185" cy="1475420"/>
          </a:xfrm>
          <a:prstGeom prst="roundRect">
            <a:avLst>
              <a:gd name="adj" fmla="val 17475"/>
            </a:avLst>
          </a:prstGeom>
          <a:noFill/>
          <a:ln w="19050">
            <a:solidFill>
              <a:srgbClr val="2845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KZ"/>
          </a:p>
        </p:txBody>
      </p:sp>
      <p:sp>
        <p:nvSpPr>
          <p:cNvPr id="8" name="TextBox 7"/>
          <p:cNvSpPr txBox="1"/>
          <p:nvPr/>
        </p:nvSpPr>
        <p:spPr>
          <a:xfrm>
            <a:off x="5320491" y="5880928"/>
            <a:ext cx="738825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600" b="1" dirty="0">
                <a:solidFill>
                  <a:srgbClr val="224A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2-е издание,</a:t>
            </a:r>
          </a:p>
          <a:p>
            <a:pPr algn="ctr"/>
            <a:r>
              <a:rPr lang="ru-RU" sz="600" b="1" dirty="0">
                <a:solidFill>
                  <a:srgbClr val="224A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еработанное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108073" y="5376899"/>
            <a:ext cx="824742" cy="1270800"/>
          </a:xfrm>
          <a:prstGeom prst="rect">
            <a:avLst/>
          </a:prstGeom>
          <a:solidFill>
            <a:schemeClr val="bg1"/>
          </a:solidFill>
        </p:spPr>
        <p:txBody>
          <a:bodyPr wrap="square" tIns="3600" bIns="3600" rtlCol="0" anchor="t" anchorCtr="1">
            <a:spAutoFit/>
          </a:bodyPr>
          <a:lstStyle/>
          <a:p>
            <a:pPr algn="ctr"/>
            <a:r>
              <a:rPr lang="ru-RU" sz="600" b="1" dirty="0">
                <a:solidFill>
                  <a:srgbClr val="224A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каз </a:t>
            </a:r>
          </a:p>
          <a:p>
            <a:pPr algn="ctr"/>
            <a:r>
              <a:rPr lang="ru-RU" sz="600" b="1" dirty="0">
                <a:solidFill>
                  <a:srgbClr val="224A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истерства </a:t>
            </a:r>
          </a:p>
          <a:p>
            <a:pPr algn="ctr"/>
            <a:r>
              <a:rPr lang="ru-RU" sz="600" b="1" dirty="0">
                <a:solidFill>
                  <a:srgbClr val="224A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свещения </a:t>
            </a:r>
          </a:p>
          <a:p>
            <a:pPr algn="ctr"/>
            <a:r>
              <a:rPr lang="ru-RU" sz="600" b="1" dirty="0">
                <a:solidFill>
                  <a:srgbClr val="224A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ссийской</a:t>
            </a:r>
          </a:p>
          <a:p>
            <a:pPr algn="ctr"/>
            <a:r>
              <a:rPr lang="ru-RU" sz="600" b="1" dirty="0">
                <a:solidFill>
                  <a:srgbClr val="224A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едерации от 31</a:t>
            </a:r>
          </a:p>
          <a:p>
            <a:pPr algn="ctr"/>
            <a:r>
              <a:rPr lang="ru-RU" sz="600" b="1" dirty="0">
                <a:solidFill>
                  <a:srgbClr val="224A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я 2021 г. № 286</a:t>
            </a:r>
          </a:p>
          <a:p>
            <a:pPr algn="ctr"/>
            <a:r>
              <a:rPr lang="ru-RU" sz="600" b="1" dirty="0">
                <a:solidFill>
                  <a:srgbClr val="224A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б утверждении</a:t>
            </a:r>
          </a:p>
          <a:p>
            <a:pPr algn="ctr"/>
            <a:r>
              <a:rPr lang="ru-RU" sz="600" b="1" dirty="0">
                <a:solidFill>
                  <a:srgbClr val="224A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едерального</a:t>
            </a:r>
          </a:p>
          <a:p>
            <a:pPr algn="ctr"/>
            <a:r>
              <a:rPr lang="ru-RU" sz="600" b="1" dirty="0">
                <a:solidFill>
                  <a:srgbClr val="224A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енного</a:t>
            </a:r>
          </a:p>
          <a:p>
            <a:pPr algn="ctr"/>
            <a:r>
              <a:rPr lang="ru-RU" sz="600" b="1" dirty="0">
                <a:solidFill>
                  <a:srgbClr val="224A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тельного</a:t>
            </a:r>
          </a:p>
          <a:p>
            <a:pPr algn="ctr"/>
            <a:r>
              <a:rPr lang="ru-RU" sz="600" b="1" dirty="0">
                <a:solidFill>
                  <a:srgbClr val="224A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ндарта</a:t>
            </a:r>
          </a:p>
          <a:p>
            <a:pPr algn="ctr"/>
            <a:r>
              <a:rPr lang="ru-RU" sz="600" b="1" dirty="0">
                <a:solidFill>
                  <a:srgbClr val="224A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чального общего </a:t>
            </a:r>
          </a:p>
          <a:p>
            <a:pPr algn="ctr"/>
            <a:r>
              <a:rPr lang="ru-RU" sz="600" b="1" dirty="0">
                <a:solidFill>
                  <a:srgbClr val="224A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ния» </a:t>
            </a:r>
          </a:p>
          <a:p>
            <a:pPr algn="ctr"/>
            <a:r>
              <a:rPr lang="ru-RU" sz="600" b="1" dirty="0">
                <a:solidFill>
                  <a:srgbClr val="224A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23863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/>
          <a:srcRect l="-1217" b="70416"/>
          <a:stretch/>
        </p:blipFill>
        <p:spPr>
          <a:xfrm>
            <a:off x="2736435" y="1635953"/>
            <a:ext cx="9089768" cy="961885"/>
          </a:xfrm>
          <a:prstGeom prst="rect">
            <a:avLst/>
          </a:prstGeom>
        </p:spPr>
      </p:pic>
      <p:sp>
        <p:nvSpPr>
          <p:cNvPr id="18441" name="TextBox 11">
            <a:extLst>
              <a:ext uri="{FF2B5EF4-FFF2-40B4-BE49-F238E27FC236}">
                <a16:creationId xmlns:a16="http://schemas.microsoft.com/office/drawing/2014/main" id="{9E1160CF-9B25-DC38-BFD8-F9DEB24222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60074" y="3492489"/>
            <a:ext cx="393382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ru-RU" altLang="ru-RU" sz="1400" dirty="0">
              <a:solidFill>
                <a:srgbClr val="3B3838"/>
              </a:solidFill>
              <a:cs typeface="Open Sans Light" pitchFamily="2" charset="0"/>
            </a:endParaRPr>
          </a:p>
        </p:txBody>
      </p:sp>
      <p:sp>
        <p:nvSpPr>
          <p:cNvPr id="18443" name="Прямоугольник 74">
            <a:extLst>
              <a:ext uri="{FF2B5EF4-FFF2-40B4-BE49-F238E27FC236}">
                <a16:creationId xmlns:a16="http://schemas.microsoft.com/office/drawing/2014/main" id="{19B85301-AE55-3819-FADD-7AE0286F69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0594" y="196070"/>
            <a:ext cx="10737042" cy="720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ФПУ – 2022. Приказ № 858 от 21.09.2022 </a:t>
            </a:r>
          </a:p>
          <a:p>
            <a:pPr eaLnBrk="1" hangingPunct="1"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Приложение № 2. На что обратить внимание</a:t>
            </a:r>
          </a:p>
        </p:txBody>
      </p:sp>
      <p:sp>
        <p:nvSpPr>
          <p:cNvPr id="10" name="TextBox 12">
            <a:extLst>
              <a:ext uri="{FF2B5EF4-FFF2-40B4-BE49-F238E27FC236}">
                <a16:creationId xmlns:a16="http://schemas.microsoft.com/office/drawing/2014/main" id="{044D14BE-6FCC-742E-D9F9-C917D08E13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7299" y="499787"/>
            <a:ext cx="7377640" cy="14747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altLang="ru-RU" sz="1600" b="1" dirty="0">
                <a:cs typeface="Open Sans Condensed" pitchFamily="2" charset="0"/>
              </a:rPr>
              <a:t>Предельные сроки использования для каждого учебника, </a:t>
            </a:r>
            <a:r>
              <a:rPr lang="ru-RU" altLang="ru-RU" sz="1600" dirty="0">
                <a:cs typeface="Open Sans Light" pitchFamily="2" charset="0"/>
              </a:rPr>
              <a:t> </a:t>
            </a:r>
            <a:r>
              <a:rPr lang="ru-RU" altLang="ru-RU" sz="1600" u="sng" dirty="0">
                <a:cs typeface="Open Sans Light" pitchFamily="2" charset="0"/>
              </a:rPr>
              <a:t>из ранее действовавшего ФПУ </a:t>
            </a:r>
            <a:r>
              <a:rPr lang="ru-RU" altLang="ru-RU" sz="1600" dirty="0">
                <a:cs typeface="Open Sans Light" pitchFamily="2" charset="0"/>
              </a:rPr>
              <a:t>(Приказ </a:t>
            </a:r>
            <a:r>
              <a:rPr lang="ru-RU" altLang="ru-RU" sz="1600" dirty="0" err="1">
                <a:cs typeface="Open Sans Light" pitchFamily="2" charset="0"/>
              </a:rPr>
              <a:t>Минпросвещения</a:t>
            </a:r>
            <a:r>
              <a:rPr lang="ru-RU" altLang="ru-RU" sz="1600" dirty="0">
                <a:cs typeface="Open Sans Light" pitchFamily="2" charset="0"/>
              </a:rPr>
              <a:t> России № 254 от 20.05.2020 с изменениями, внесёнными Приказом № 766 от 23.12.2020) </a:t>
            </a:r>
            <a:endParaRPr lang="ru-RU" altLang="ru-RU" sz="1600" dirty="0">
              <a:solidFill>
                <a:srgbClr val="FF0000"/>
              </a:solidFill>
              <a:cs typeface="Open Sans Condensed" pitchFamily="2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7044" y="2829627"/>
            <a:ext cx="9699159" cy="2788436"/>
          </a:xfrm>
          <a:prstGeom prst="rect">
            <a:avLst/>
          </a:prstGeom>
        </p:spPr>
      </p:pic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F68916EE-7F83-C5E6-695A-6D66B175E636}"/>
              </a:ext>
            </a:extLst>
          </p:cNvPr>
          <p:cNvSpPr/>
          <p:nvPr/>
        </p:nvSpPr>
        <p:spPr>
          <a:xfrm>
            <a:off x="420594" y="1136547"/>
            <a:ext cx="8341021" cy="885929"/>
          </a:xfrm>
          <a:prstGeom prst="roundRect">
            <a:avLst>
              <a:gd name="adj" fmla="val 17475"/>
            </a:avLst>
          </a:prstGeom>
          <a:noFill/>
          <a:ln w="19050">
            <a:solidFill>
              <a:srgbClr val="2845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KZ"/>
          </a:p>
        </p:txBody>
      </p:sp>
      <p:grpSp>
        <p:nvGrpSpPr>
          <p:cNvPr id="9" name="Группа 8"/>
          <p:cNvGrpSpPr/>
          <p:nvPr/>
        </p:nvGrpSpPr>
        <p:grpSpPr>
          <a:xfrm>
            <a:off x="9804463" y="2218158"/>
            <a:ext cx="1963551" cy="3399905"/>
            <a:chOff x="9700953" y="1961804"/>
            <a:chExt cx="1963551" cy="3399905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9700953" y="1961804"/>
              <a:ext cx="1963551" cy="3399905"/>
              <a:chOff x="9700953" y="1961804"/>
              <a:chExt cx="1963551" cy="3399905"/>
            </a:xfrm>
          </p:grpSpPr>
          <p:sp>
            <p:nvSpPr>
              <p:cNvPr id="27" name="Скругленный прямоугольник 26">
                <a:extLst>
                  <a:ext uri="{FF2B5EF4-FFF2-40B4-BE49-F238E27FC236}">
                    <a16:creationId xmlns:a16="http://schemas.microsoft.com/office/drawing/2014/main" id="{90EDB855-ABD9-6F21-2ADC-AC7F5D02197B}"/>
                  </a:ext>
                </a:extLst>
              </p:cNvPr>
              <p:cNvSpPr/>
              <p:nvPr/>
            </p:nvSpPr>
            <p:spPr>
              <a:xfrm>
                <a:off x="9700953" y="1961804"/>
                <a:ext cx="1963551" cy="3399905"/>
              </a:xfrm>
              <a:prstGeom prst="roundRect">
                <a:avLst>
                  <a:gd name="adj" fmla="val 7281"/>
                </a:avLst>
              </a:prstGeom>
              <a:solidFill>
                <a:schemeClr val="bg1"/>
              </a:solidFill>
              <a:ln w="19050">
                <a:solidFill>
                  <a:srgbClr val="28458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KZ"/>
              </a:p>
            </p:txBody>
          </p:sp>
          <p:pic>
            <p:nvPicPr>
              <p:cNvPr id="3" name="Рисунок 2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9789740" y="2085097"/>
                <a:ext cx="1809204" cy="3161628"/>
              </a:xfrm>
              <a:prstGeom prst="rect">
                <a:avLst/>
              </a:prstGeom>
            </p:spPr>
          </p:pic>
        </p:grpSp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947184" y="2132945"/>
              <a:ext cx="1533525" cy="4667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724530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61422" y="2541938"/>
            <a:ext cx="1377098" cy="1908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98119" y="2521040"/>
            <a:ext cx="1432133" cy="1908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11474" y="2460942"/>
            <a:ext cx="1400603" cy="1908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87967" y="2444450"/>
            <a:ext cx="1402180" cy="1908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443" name="Прямоугольник 74">
            <a:extLst>
              <a:ext uri="{FF2B5EF4-FFF2-40B4-BE49-F238E27FC236}">
                <a16:creationId xmlns:a16="http://schemas.microsoft.com/office/drawing/2014/main" id="{19B85301-AE55-3819-FADD-7AE0286F69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5289" y="164004"/>
            <a:ext cx="11102802" cy="10341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41680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ФПУ – 2022. Приказ № 858 от 21.09.2022 </a:t>
            </a:r>
          </a:p>
          <a:p>
            <a:pPr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Приложение № 2</a:t>
            </a:r>
          </a:p>
          <a:p>
            <a:pPr eaLnBrk="1" hangingPunct="1">
              <a:lnSpc>
                <a:spcPct val="85000"/>
              </a:lnSpc>
            </a:pPr>
            <a:r>
              <a:rPr lang="ru-RU" altLang="ru-RU" sz="2400" b="1" dirty="0">
                <a:solidFill>
                  <a:srgbClr val="28458D"/>
                </a:solidFill>
                <a:cs typeface="Open Sans Condensed" pitchFamily="2" charset="0"/>
              </a:rPr>
              <a:t>Предельные сроки использования учебников зависят от года изучения предмета</a:t>
            </a:r>
          </a:p>
        </p:txBody>
      </p:sp>
      <p:sp>
        <p:nvSpPr>
          <p:cNvPr id="17" name="TextBox 12">
            <a:extLst>
              <a:ext uri="{FF2B5EF4-FFF2-40B4-BE49-F238E27FC236}">
                <a16:creationId xmlns:a16="http://schemas.microsoft.com/office/drawing/2014/main" id="{044D14BE-6FCC-742E-D9F9-C917D08E13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4820" y="1457191"/>
            <a:ext cx="8003739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ru-RU" sz="1600" b="1" dirty="0">
                <a:solidFill>
                  <a:srgbClr val="28458D"/>
                </a:solidFill>
                <a:cs typeface="Open Sans Condensed" pitchFamily="2" charset="0"/>
              </a:rPr>
              <a:t>Год изучения предмета </a:t>
            </a:r>
          </a:p>
        </p:txBody>
      </p:sp>
      <p:sp>
        <p:nvSpPr>
          <p:cNvPr id="18" name="TextBox 12">
            <a:extLst>
              <a:ext uri="{FF2B5EF4-FFF2-40B4-BE49-F238E27FC236}">
                <a16:creationId xmlns:a16="http://schemas.microsoft.com/office/drawing/2014/main" id="{044D14BE-6FCC-742E-D9F9-C917D08E13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4820" y="5226266"/>
            <a:ext cx="8003739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ru-RU" sz="1600" b="1" dirty="0">
                <a:solidFill>
                  <a:srgbClr val="28458D"/>
                </a:solidFill>
                <a:cs typeface="Open Sans Condensed" pitchFamily="2" charset="0"/>
              </a:rPr>
              <a:t>Предельный срок использования</a:t>
            </a:r>
          </a:p>
        </p:txBody>
      </p:sp>
      <p:sp>
        <p:nvSpPr>
          <p:cNvPr id="8" name="TextBox 12">
            <a:extLst>
              <a:ext uri="{FF2B5EF4-FFF2-40B4-BE49-F238E27FC236}">
                <a16:creationId xmlns:a16="http://schemas.microsoft.com/office/drawing/2014/main" id="{044D14BE-6FCC-742E-D9F9-C917D08E13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2309712" y="2017301"/>
            <a:ext cx="8394415" cy="43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ru-RU" sz="1100" b="1" dirty="0">
                <a:solidFill>
                  <a:srgbClr val="28458D"/>
                </a:solidFill>
                <a:cs typeface="Open Sans Condensed" pitchFamily="2" charset="0"/>
              </a:rPr>
              <a:t>1 год изучения </a:t>
            </a:r>
          </a:p>
          <a:p>
            <a:pPr algn="ctr" eaLnBrk="1" hangingPunct="1">
              <a:lnSpc>
                <a:spcPct val="90000"/>
              </a:lnSpc>
            </a:pPr>
            <a:r>
              <a:rPr lang="ru-RU" altLang="ru-RU" sz="1100" b="1" dirty="0">
                <a:solidFill>
                  <a:srgbClr val="28458D"/>
                </a:solidFill>
                <a:cs typeface="Open Sans Condensed" pitchFamily="2" charset="0"/>
              </a:rPr>
              <a:t>предмета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614254" y="3941141"/>
            <a:ext cx="1302356" cy="1010501"/>
          </a:xfrm>
          <a:prstGeom prst="roundRect">
            <a:avLst/>
          </a:prstGeom>
          <a:solidFill>
            <a:srgbClr val="28458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До 31 августа 2023 года</a:t>
            </a:r>
          </a:p>
        </p:txBody>
      </p:sp>
      <p:sp>
        <p:nvSpPr>
          <p:cNvPr id="6" name="Стрелка вправо 5"/>
          <p:cNvSpPr/>
          <p:nvPr/>
        </p:nvSpPr>
        <p:spPr>
          <a:xfrm>
            <a:off x="3048724" y="3126697"/>
            <a:ext cx="478972" cy="348343"/>
          </a:xfrm>
          <a:prstGeom prst="rightArrow">
            <a:avLst/>
          </a:prstGeom>
          <a:solidFill>
            <a:srgbClr val="28458D">
              <a:alpha val="6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28458D"/>
              </a:solidFill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3137576" y="3923470"/>
            <a:ext cx="1302356" cy="1010501"/>
          </a:xfrm>
          <a:prstGeom prst="roundRect">
            <a:avLst/>
          </a:prstGeom>
          <a:solidFill>
            <a:srgbClr val="28458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До 31 августа 2024 года</a:t>
            </a:r>
          </a:p>
        </p:txBody>
      </p:sp>
      <p:sp>
        <p:nvSpPr>
          <p:cNvPr id="13" name="Стрелка вправо 12"/>
          <p:cNvSpPr/>
          <p:nvPr/>
        </p:nvSpPr>
        <p:spPr>
          <a:xfrm>
            <a:off x="5665001" y="3137147"/>
            <a:ext cx="478972" cy="348343"/>
          </a:xfrm>
          <a:prstGeom prst="rightArrow">
            <a:avLst/>
          </a:prstGeom>
          <a:solidFill>
            <a:srgbClr val="28458D">
              <a:alpha val="6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28458D"/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6046178" y="3951591"/>
            <a:ext cx="1302356" cy="1010501"/>
          </a:xfrm>
          <a:prstGeom prst="roundRect">
            <a:avLst/>
          </a:prstGeom>
          <a:solidFill>
            <a:srgbClr val="28458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До 31 августа 2025 года</a:t>
            </a:r>
          </a:p>
        </p:txBody>
      </p:sp>
      <p:sp>
        <p:nvSpPr>
          <p:cNvPr id="16" name="Стрелка вправо 15"/>
          <p:cNvSpPr/>
          <p:nvPr/>
        </p:nvSpPr>
        <p:spPr>
          <a:xfrm>
            <a:off x="8406803" y="3147597"/>
            <a:ext cx="478972" cy="348343"/>
          </a:xfrm>
          <a:prstGeom prst="rightArrow">
            <a:avLst/>
          </a:prstGeom>
          <a:solidFill>
            <a:srgbClr val="28458D">
              <a:alpha val="6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28458D"/>
              </a:solidFill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8679704" y="3951591"/>
            <a:ext cx="1302356" cy="1010501"/>
          </a:xfrm>
          <a:prstGeom prst="roundRect">
            <a:avLst/>
          </a:prstGeom>
          <a:solidFill>
            <a:srgbClr val="28458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До 31 августа 2027 года</a:t>
            </a:r>
          </a:p>
        </p:txBody>
      </p:sp>
      <p:sp>
        <p:nvSpPr>
          <p:cNvPr id="22" name="TextBox 12">
            <a:extLst>
              <a:ext uri="{FF2B5EF4-FFF2-40B4-BE49-F238E27FC236}">
                <a16:creationId xmlns:a16="http://schemas.microsoft.com/office/drawing/2014/main" id="{044D14BE-6FCC-742E-D9F9-C917D08E13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5289" y="2013500"/>
            <a:ext cx="8394415" cy="43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ru-RU" sz="1100" b="1" dirty="0">
                <a:solidFill>
                  <a:srgbClr val="28458D"/>
                </a:solidFill>
                <a:cs typeface="Open Sans Condensed" pitchFamily="2" charset="0"/>
              </a:rPr>
              <a:t>2 год изучения </a:t>
            </a:r>
          </a:p>
          <a:p>
            <a:pPr algn="ctr" eaLnBrk="1" hangingPunct="1">
              <a:lnSpc>
                <a:spcPct val="90000"/>
              </a:lnSpc>
            </a:pPr>
            <a:r>
              <a:rPr lang="ru-RU" altLang="ru-RU" sz="1100" b="1" dirty="0">
                <a:solidFill>
                  <a:srgbClr val="28458D"/>
                </a:solidFill>
                <a:cs typeface="Open Sans Condensed" pitchFamily="2" charset="0"/>
              </a:rPr>
              <a:t>предмета</a:t>
            </a:r>
          </a:p>
        </p:txBody>
      </p:sp>
      <p:sp>
        <p:nvSpPr>
          <p:cNvPr id="23" name="TextBox 12">
            <a:extLst>
              <a:ext uri="{FF2B5EF4-FFF2-40B4-BE49-F238E27FC236}">
                <a16:creationId xmlns:a16="http://schemas.microsoft.com/office/drawing/2014/main" id="{044D14BE-6FCC-742E-D9F9-C917D08E13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48724" y="2045714"/>
            <a:ext cx="8394415" cy="43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ru-RU" sz="1100" b="1" dirty="0">
                <a:solidFill>
                  <a:srgbClr val="28458D"/>
                </a:solidFill>
                <a:cs typeface="Open Sans Condensed" pitchFamily="2" charset="0"/>
              </a:rPr>
              <a:t>3 год изучения </a:t>
            </a:r>
          </a:p>
          <a:p>
            <a:pPr algn="ctr" eaLnBrk="1" hangingPunct="1">
              <a:lnSpc>
                <a:spcPct val="90000"/>
              </a:lnSpc>
            </a:pPr>
            <a:r>
              <a:rPr lang="ru-RU" altLang="ru-RU" sz="1100" b="1" dirty="0">
                <a:solidFill>
                  <a:srgbClr val="28458D"/>
                </a:solidFill>
                <a:cs typeface="Open Sans Condensed" pitchFamily="2" charset="0"/>
              </a:rPr>
              <a:t>предмета</a:t>
            </a:r>
          </a:p>
        </p:txBody>
      </p:sp>
      <p:sp>
        <p:nvSpPr>
          <p:cNvPr id="24" name="TextBox 12">
            <a:extLst>
              <a:ext uri="{FF2B5EF4-FFF2-40B4-BE49-F238E27FC236}">
                <a16:creationId xmlns:a16="http://schemas.microsoft.com/office/drawing/2014/main" id="{044D14BE-6FCC-742E-D9F9-C917D08E13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63001" y="2041584"/>
            <a:ext cx="8394415" cy="43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ru-RU" sz="1100" b="1" dirty="0">
                <a:solidFill>
                  <a:srgbClr val="28458D"/>
                </a:solidFill>
                <a:cs typeface="Open Sans Condensed" pitchFamily="2" charset="0"/>
              </a:rPr>
              <a:t>4-5 год изучения </a:t>
            </a:r>
          </a:p>
          <a:p>
            <a:pPr algn="ctr" eaLnBrk="1" hangingPunct="1">
              <a:lnSpc>
                <a:spcPct val="90000"/>
              </a:lnSpc>
            </a:pPr>
            <a:r>
              <a:rPr lang="ru-RU" altLang="ru-RU" sz="1100" b="1" dirty="0">
                <a:solidFill>
                  <a:srgbClr val="28458D"/>
                </a:solidFill>
                <a:cs typeface="Open Sans Condensed" pitchFamily="2" charset="0"/>
              </a:rPr>
              <a:t>предмета</a:t>
            </a:r>
          </a:p>
        </p:txBody>
      </p:sp>
    </p:spTree>
    <p:extLst>
      <p:ext uri="{BB962C8B-B14F-4D97-AF65-F5344CB8AC3E}">
        <p14:creationId xmlns:p14="http://schemas.microsoft.com/office/powerpoint/2010/main" val="18429286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шаблон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772</TotalTime>
  <Words>3031</Words>
  <Application>Microsoft Office PowerPoint</Application>
  <PresentationFormat>Широкоэкранный</PresentationFormat>
  <Paragraphs>620</Paragraphs>
  <Slides>36</Slides>
  <Notes>1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6</vt:i4>
      </vt:variant>
    </vt:vector>
  </HeadingPairs>
  <TitlesOfParts>
    <vt:vector size="49" baseType="lpstr">
      <vt:lpstr>Arial</vt:lpstr>
      <vt:lpstr>Calibri</vt:lpstr>
      <vt:lpstr>Calibri</vt:lpstr>
      <vt:lpstr>Calibri Light</vt:lpstr>
      <vt:lpstr>Courier New</vt:lpstr>
      <vt:lpstr>Open Sans Condensed</vt:lpstr>
      <vt:lpstr>Open Sans Light</vt:lpstr>
      <vt:lpstr>Tahoma</vt:lpstr>
      <vt:lpstr>Times New Roman</vt:lpstr>
      <vt:lpstr>Тема Office</vt:lpstr>
      <vt:lpstr>шаблон</vt:lpstr>
      <vt:lpstr>1_Тема Office</vt:lpstr>
      <vt:lpstr>Слайд think-cell</vt:lpstr>
      <vt:lpstr>Тема: Введение обновлённых ФГОС. Федеральные основные образовательные программы, новые требования к ним.</vt:lpstr>
      <vt:lpstr>Федеральный учебный план: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ЭЛЕКТРОННЫЕ ОБРАЗОВАТЕЛЬНЫЕ РЕСУРСЫ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амсонова Ольга Юрьевна</dc:creator>
  <cp:lastModifiedBy>2020</cp:lastModifiedBy>
  <cp:revision>152</cp:revision>
  <dcterms:created xsi:type="dcterms:W3CDTF">2022-10-18T12:29:23Z</dcterms:created>
  <dcterms:modified xsi:type="dcterms:W3CDTF">2023-04-24T05:33:28Z</dcterms:modified>
</cp:coreProperties>
</file>